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5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heme/theme6.xml" ContentType="application/vnd.openxmlformats-officedocument.theme+xml"/>
  <Override PartName="/ppt/tags/tag93.xml" ContentType="application/vnd.openxmlformats-officedocument.presentationml.tags+xml"/>
  <Override PartName="/ppt/media/image22.jpg" ContentType="image/png"/>
  <Override PartName="/ppt/media/image23.jpg" ContentType="image/png"/>
  <Override PartName="/ppt/media/image24.jpg" ContentType="image/png"/>
  <Override PartName="/ppt/tags/tag94.xml" ContentType="application/vnd.openxmlformats-officedocument.presentationml.tags+xml"/>
  <Override PartName="/ppt/media/image27.jpg" ContentType="image/png"/>
  <Override PartName="/ppt/media/image28.jpg" ContentType="image/png"/>
  <Override PartName="/ppt/media/image29.jpg" ContentType="image/png"/>
  <Override PartName="/ppt/media/image30.jpg" ContentType="image/png"/>
  <Override PartName="/ppt/media/image31.jpg" ContentType="image/png"/>
  <Override PartName="/ppt/media/image32.jpg" ContentType="image/png"/>
  <Override PartName="/ppt/media/image33.jpg" ContentType="image/pn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  <p:sldMasterId id="2147483845" r:id="rId2"/>
    <p:sldMasterId id="2147483911" r:id="rId3"/>
    <p:sldMasterId id="2147483918" r:id="rId4"/>
    <p:sldMasterId id="2147483925" r:id="rId5"/>
  </p:sldMasterIdLst>
  <p:notesMasterIdLst>
    <p:notesMasterId r:id="rId10"/>
  </p:notesMasterIdLst>
  <p:sldIdLst>
    <p:sldId id="3651" r:id="rId6"/>
    <p:sldId id="3678" r:id="rId7"/>
    <p:sldId id="3680" r:id="rId8"/>
    <p:sldId id="3682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00"/>
    <a:srgbClr val="000000"/>
    <a:srgbClr val="FF6600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034" autoAdjust="0"/>
    <p:restoredTop sz="94714" autoAdjust="0"/>
  </p:normalViewPr>
  <p:slideViewPr>
    <p:cSldViewPr>
      <p:cViewPr>
        <p:scale>
          <a:sx n="75" d="100"/>
          <a:sy n="75" d="100"/>
        </p:scale>
        <p:origin x="780" y="-126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3417CF-3DB3-4143-8355-4DAD5308DA5F}" type="datetimeFigureOut">
              <a:rPr lang="en-US" smtClean="0"/>
              <a:pPr/>
              <a:t>2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D1F8C6-0DAE-4535-B600-F24DED8CBD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98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3.emf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0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579967" y="5418138"/>
            <a:ext cx="11004551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88434" y="4003676"/>
            <a:ext cx="10996084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EA2A0A3-3F7D-4D6E-8F4C-8BD813AA8CB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93126F-5101-4C33-A63E-1F72D3BF29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22267" y="549275"/>
            <a:ext cx="2745317" cy="552608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4200" y="549275"/>
            <a:ext cx="8034867" cy="552608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50D7D2-3118-4A3F-B90F-6DB844F4306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4200" y="549275"/>
            <a:ext cx="10983384" cy="5526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C37905-BF4B-4BDB-8F1F-3E5EA99D2B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1" y="549276"/>
            <a:ext cx="10979151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86317" y="1960563"/>
            <a:ext cx="10981267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B8DD88-D40E-48C0-8491-0E1C533DB6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579967" y="5418138"/>
            <a:ext cx="11004551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88434" y="4003676"/>
            <a:ext cx="10996084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EA2A0A3-3F7D-4D6E-8F4C-8BD813AA8CBE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9E109-DB73-4A1A-BD5F-FD8062D92C8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97CBF7-4569-4C41-B9B9-1776F8E6FE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6318" y="1960563"/>
            <a:ext cx="5389033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8552" y="1960563"/>
            <a:ext cx="5389033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2FD7F-5FD0-46AA-A35A-54F2CA769C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1EC4FF-AF6C-4528-BC0E-A24B159298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A6B578-E865-429D-8C8F-CF764D3C88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89E109-DB73-4A1A-BD5F-FD8062D92C8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4EE18F-6C96-4EFA-BD14-80D17E2B8B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7BC0EC-1599-46B3-9CC0-6DBC73E2C24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5729E7-AB26-4AFF-9930-5F619940F8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93126F-5101-4C33-A63E-1F72D3BF29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22267" y="549275"/>
            <a:ext cx="2745317" cy="552608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4200" y="549275"/>
            <a:ext cx="8034867" cy="552608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50D7D2-3118-4A3F-B90F-6DB844F4306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4200" y="549275"/>
            <a:ext cx="10983384" cy="55260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C37905-BF4B-4BDB-8F1F-3E5EA99D2B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4201" y="549276"/>
            <a:ext cx="10979151" cy="792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86317" y="1960563"/>
            <a:ext cx="10981267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  <p:custDataLst>
              <p:tags r:id="rId4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B8DD88-D40E-48C0-8491-0E1C533DB6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A254055-6B03-49CE-88B9-613DF68EC1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" y="4"/>
            <a:ext cx="12182819" cy="685799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212E7E7-7ACF-4ECB-BD2F-98A28F169A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0319" y="442845"/>
            <a:ext cx="1056459" cy="1407827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DA55AD-26F8-406E-B4FA-E4C26D9A3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76233" y="3039740"/>
            <a:ext cx="7559528" cy="1289082"/>
          </a:xfrm>
        </p:spPr>
        <p:txBody>
          <a:bodyPr/>
          <a:lstStyle>
            <a:lvl1pPr>
              <a:lnSpc>
                <a:spcPts val="2499"/>
              </a:lnSpc>
              <a:defRPr sz="2199" b="0">
                <a:solidFill>
                  <a:schemeClr val="accent2"/>
                </a:solidFill>
              </a:defRPr>
            </a:lvl1pPr>
            <a:lvl2pPr>
              <a:lnSpc>
                <a:spcPts val="1199"/>
              </a:lnSpc>
              <a:defRPr sz="1300" b="1" cap="all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ts val="2499"/>
              </a:lnSpc>
              <a:buFontTx/>
              <a:buNone/>
              <a:defRPr sz="2199">
                <a:solidFill>
                  <a:schemeClr val="accent2"/>
                </a:solidFill>
              </a:defRPr>
            </a:lvl3pPr>
            <a:lvl4pPr marL="0" indent="0">
              <a:lnSpc>
                <a:spcPts val="2499"/>
              </a:lnSpc>
              <a:buFontTx/>
              <a:buNone/>
              <a:defRPr sz="2199">
                <a:solidFill>
                  <a:schemeClr val="accent2"/>
                </a:solidFill>
              </a:defRPr>
            </a:lvl4pPr>
            <a:lvl5pPr marL="0" indent="0">
              <a:lnSpc>
                <a:spcPts val="2499"/>
              </a:lnSpc>
              <a:buFontTx/>
              <a:buNone/>
              <a:defRPr sz="2199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17ACDE-0D20-4108-A53F-263CBA2E00E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50396" y="5565083"/>
            <a:ext cx="696307" cy="83286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7FA8E9-06E7-4D6F-B717-FFEA068CB5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76606" y="5251825"/>
            <a:ext cx="3240053" cy="1199780"/>
          </a:xfrm>
        </p:spPr>
        <p:txBody>
          <a:bodyPr/>
          <a:lstStyle>
            <a:lvl1pPr>
              <a:lnSpc>
                <a:spcPts val="1300"/>
              </a:lnSpc>
              <a:spcAft>
                <a:spcPts val="150"/>
              </a:spcAft>
              <a:defRPr sz="1300" cap="all" baseline="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3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300" b="1"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3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FE25FDAA-8EEA-4A43-92B3-C0C10A2B5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5549" y="2236551"/>
            <a:ext cx="7500216" cy="749735"/>
          </a:xfrm>
        </p:spPr>
        <p:txBody>
          <a:bodyPr/>
          <a:lstStyle>
            <a:lvl1pPr>
              <a:lnSpc>
                <a:spcPts val="4399"/>
              </a:lnSpc>
              <a:defRPr sz="4399" cap="all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741449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DD204F5-A554-4C7E-8BB1-186AA20210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47"/>
            <a:ext cx="12192000" cy="6856313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2378A0EB-3FAD-47FB-8FD4-867829E2B18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0320" y="428581"/>
            <a:ext cx="1056459" cy="1407827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DA55AD-26F8-406E-B4FA-E4C26D9A3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75549" y="3028788"/>
            <a:ext cx="7500216" cy="1120070"/>
          </a:xfrm>
        </p:spPr>
        <p:txBody>
          <a:bodyPr/>
          <a:lstStyle>
            <a:lvl1pPr>
              <a:lnSpc>
                <a:spcPts val="2499"/>
              </a:lnSpc>
              <a:defRPr sz="2199" b="0">
                <a:solidFill>
                  <a:schemeClr val="accent2"/>
                </a:solidFill>
              </a:defRPr>
            </a:lvl1pPr>
            <a:lvl2pPr>
              <a:lnSpc>
                <a:spcPts val="1300"/>
              </a:lnSpc>
              <a:defRPr sz="1300" b="1" cap="all" baseline="0">
                <a:solidFill>
                  <a:schemeClr val="bg2"/>
                </a:solidFill>
                <a:latin typeface="+mj-lt"/>
              </a:defRPr>
            </a:lvl2pPr>
            <a:lvl3pPr marL="0" indent="0">
              <a:lnSpc>
                <a:spcPts val="2499"/>
              </a:lnSpc>
              <a:buFontTx/>
              <a:buNone/>
              <a:defRPr sz="2199">
                <a:solidFill>
                  <a:schemeClr val="accent2"/>
                </a:solidFill>
              </a:defRPr>
            </a:lvl3pPr>
            <a:lvl4pPr marL="0" indent="0">
              <a:lnSpc>
                <a:spcPts val="2499"/>
              </a:lnSpc>
              <a:buFontTx/>
              <a:buNone/>
              <a:defRPr sz="2199">
                <a:solidFill>
                  <a:schemeClr val="accent2"/>
                </a:solidFill>
              </a:defRPr>
            </a:lvl4pPr>
            <a:lvl5pPr marL="0" indent="0">
              <a:lnSpc>
                <a:spcPts val="2499"/>
              </a:lnSpc>
              <a:buFontTx/>
              <a:buNone/>
              <a:defRPr sz="2199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17ACDE-0D20-4108-A53F-263CBA2E00E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52688" y="5565085"/>
            <a:ext cx="696307" cy="832863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F56A0FF-2542-4A87-A4C1-D1D509E8DC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76606" y="5251825"/>
            <a:ext cx="3240053" cy="1199780"/>
          </a:xfrm>
        </p:spPr>
        <p:txBody>
          <a:bodyPr/>
          <a:lstStyle>
            <a:lvl1pPr>
              <a:lnSpc>
                <a:spcPts val="1300"/>
              </a:lnSpc>
              <a:spcAft>
                <a:spcPts val="150"/>
              </a:spcAft>
              <a:defRPr sz="1300" cap="all" baseline="0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 sz="1300">
                <a:solidFill>
                  <a:schemeClr val="accent1"/>
                </a:solidFill>
              </a:defRPr>
            </a:lvl2pPr>
            <a:lvl3pPr marL="0" indent="0">
              <a:buFontTx/>
              <a:buNone/>
              <a:defRPr sz="1300" b="1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b="1" dirty="0"/>
              <a:t>Third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88F6E63-A4DA-4A4E-9416-B71EA3F91C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5549" y="2236551"/>
            <a:ext cx="7500216" cy="749735"/>
          </a:xfrm>
        </p:spPr>
        <p:txBody>
          <a:bodyPr/>
          <a:lstStyle>
            <a:lvl1pPr>
              <a:lnSpc>
                <a:spcPts val="4399"/>
              </a:lnSpc>
              <a:defRPr sz="4399" cap="all" baseline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AU" dirty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7039210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132B43-CE0D-4562-9A9B-44DB3B0711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4205" y="6353382"/>
            <a:ext cx="223519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099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567FC75-41DD-4163-B709-F5E6E325B1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724" y="6353382"/>
            <a:ext cx="5838251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9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4BB4F1F-6179-4449-8C1D-007D69586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515787" y="6334045"/>
            <a:ext cx="2256456" cy="3639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499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889279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97CBF7-4569-4C41-B9B9-1776F8E6FE8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16332" y="1481044"/>
            <a:ext cx="10956643" cy="4466013"/>
          </a:xfrm>
        </p:spPr>
        <p:txBody>
          <a:bodyPr/>
          <a:lstStyle>
            <a:lvl1pPr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1pPr>
            <a:lvl2pPr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2pPr>
            <a:lvl3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3pPr>
            <a:lvl4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4pPr>
            <a:lvl5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 baseline="0">
                <a:solidFill>
                  <a:schemeClr val="accent1"/>
                </a:solidFill>
              </a:defRPr>
            </a:lvl5pPr>
            <a:lvl6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6pPr>
            <a:lvl7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7pPr>
            <a:lvl8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8pPr>
            <a:lvl9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endParaRPr lang="en-AU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352380-AA95-4D88-8A7E-3DCCA83B89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623" y="2495042"/>
            <a:ext cx="279352" cy="296242"/>
          </a:xfrm>
        </p:spPr>
        <p:txBody>
          <a:bodyPr/>
          <a:lstStyle>
            <a:lvl1pPr>
              <a:lnSpc>
                <a:spcPts val="1559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59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59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59"/>
              </a:lnSpc>
              <a:spcAft>
                <a:spcPts val="1417"/>
              </a:spcAft>
              <a:defRPr sz="1300"/>
            </a:lvl4pPr>
            <a:lvl5pPr>
              <a:lnSpc>
                <a:spcPts val="1559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9BDBFEE-94B0-45F9-869C-98F2F9E8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2053" y="1481041"/>
            <a:ext cx="279352" cy="296242"/>
          </a:xfrm>
        </p:spPr>
        <p:txBody>
          <a:bodyPr/>
          <a:lstStyle>
            <a:lvl1pPr>
              <a:lnSpc>
                <a:spcPts val="1559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59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59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59"/>
              </a:lnSpc>
              <a:spcAft>
                <a:spcPts val="1417"/>
              </a:spcAft>
              <a:defRPr sz="1300"/>
            </a:lvl4pPr>
            <a:lvl5pPr>
              <a:lnSpc>
                <a:spcPts val="1559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1E36714-AF73-4B1C-96E5-ABB2635232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2053" y="1988041"/>
            <a:ext cx="279352" cy="296242"/>
          </a:xfrm>
        </p:spPr>
        <p:txBody>
          <a:bodyPr/>
          <a:lstStyle>
            <a:lvl1pPr>
              <a:lnSpc>
                <a:spcPts val="1559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59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59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59"/>
              </a:lnSpc>
              <a:spcAft>
                <a:spcPts val="1417"/>
              </a:spcAft>
              <a:defRPr sz="1300"/>
            </a:lvl4pPr>
            <a:lvl5pPr>
              <a:lnSpc>
                <a:spcPts val="1559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468B7204-21B8-46BA-9AD0-DE0A4D3AC0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2053" y="3005245"/>
            <a:ext cx="279352" cy="296242"/>
          </a:xfrm>
        </p:spPr>
        <p:txBody>
          <a:bodyPr/>
          <a:lstStyle>
            <a:lvl1pPr>
              <a:lnSpc>
                <a:spcPts val="1559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59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59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59"/>
              </a:lnSpc>
              <a:spcAft>
                <a:spcPts val="1417"/>
              </a:spcAft>
              <a:defRPr sz="1300"/>
            </a:lvl4pPr>
            <a:lvl5pPr>
              <a:lnSpc>
                <a:spcPts val="1559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DCB0F119-1F36-4F90-A98F-51D46A773B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2053" y="3513986"/>
            <a:ext cx="279352" cy="296242"/>
          </a:xfrm>
        </p:spPr>
        <p:txBody>
          <a:bodyPr/>
          <a:lstStyle>
            <a:lvl1pPr>
              <a:lnSpc>
                <a:spcPts val="1559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59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59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59"/>
              </a:lnSpc>
              <a:spcAft>
                <a:spcPts val="1417"/>
              </a:spcAft>
              <a:defRPr sz="1300"/>
            </a:lvl4pPr>
            <a:lvl5pPr>
              <a:lnSpc>
                <a:spcPts val="1559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6311E4-924A-41DF-9A0C-C7D8D3465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4205" y="6353382"/>
            <a:ext cx="223519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099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7256E03-A911-4CA5-8226-9EDC307FD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724" y="6353382"/>
            <a:ext cx="5838251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9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E823CE97-841C-4759-9344-236C9B78D3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515787" y="6334045"/>
            <a:ext cx="2256456" cy="3639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499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85614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4" pos="288" userDrawn="1">
          <p15:clr>
            <a:srgbClr val="FBAE40"/>
          </p15:clr>
        </p15:guide>
        <p15:guide id="5" orient="horz" pos="43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C2A045-2F4B-46E5-B2E8-B43EA8094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DDF0D-ABA6-42D5-872E-F6ED7A8BF3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F14CD3-109A-429A-BB30-F4CD29381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| PowerPoint document title goes here. </a:t>
            </a:r>
            <a:r>
              <a:rPr lang="en-GB" b="0"/>
              <a:t>Subtitle goes here</a:t>
            </a:r>
            <a:endParaRPr lang="en-AU" b="0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49597B9-64C9-4C6D-B9F9-8958F4EF98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515787" y="6334045"/>
            <a:ext cx="2256456" cy="3639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499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278915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ou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C8FFC-B440-49DD-86A9-5239FD217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8717" y="1592271"/>
            <a:ext cx="6667096" cy="2759455"/>
          </a:xfrm>
        </p:spPr>
        <p:txBody>
          <a:bodyPr/>
          <a:lstStyle>
            <a:lvl1pPr>
              <a:lnSpc>
                <a:spcPts val="5299"/>
              </a:lnSpc>
              <a:defRPr sz="5599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4AD002D-304E-4F8B-B74E-4ED2FEF5BB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4205" y="6353382"/>
            <a:ext cx="223519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099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01D5C8-FC6F-4F0A-8F3F-9423B88B11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724" y="6353382"/>
            <a:ext cx="5838251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9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EC8F6C4-666A-443D-8972-6DCCADCF89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515787" y="6334045"/>
            <a:ext cx="2256456" cy="3639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499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082667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477B8F74-624C-4895-B1B4-1EC6502D549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0" y="0"/>
            <a:ext cx="12182816" cy="685800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3" name="Picture 3">
            <a:extLst>
              <a:ext uri="{FF2B5EF4-FFF2-40B4-BE49-F238E27FC236}">
                <a16:creationId xmlns:a16="http://schemas.microsoft.com/office/drawing/2014/main" id="{61F498F9-B587-48FF-8D16-B5D386519D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312" y="442843"/>
            <a:ext cx="1056461" cy="140782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B967C3A2-810E-4E81-9D70-15A57B1AE46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376232" y="3039739"/>
            <a:ext cx="7559527" cy="1289084"/>
          </a:xfrm>
        </p:spPr>
        <p:txBody>
          <a:bodyPr/>
          <a:lstStyle>
            <a:lvl1pPr>
              <a:lnSpc>
                <a:spcPts val="3330"/>
              </a:lnSpc>
              <a:defRPr lang="en-US" sz="2932" b="0">
                <a:solidFill>
                  <a:srgbClr val="36BCEE"/>
                </a:solidFill>
              </a:defRPr>
            </a:lvl1pPr>
            <a:lvl2pPr>
              <a:lnSpc>
                <a:spcPts val="1600"/>
              </a:lnSpc>
              <a:defRPr lang="en-US" sz="1733" b="1" cap="all">
                <a:solidFill>
                  <a:srgbClr val="FFFFFF"/>
                </a:solidFill>
                <a:latin typeface="Calibri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5" name="Picture 13">
            <a:extLst>
              <a:ext uri="{FF2B5EF4-FFF2-40B4-BE49-F238E27FC236}">
                <a16:creationId xmlns:a16="http://schemas.microsoft.com/office/drawing/2014/main" id="{E5AD41BC-0440-416F-9FF8-50BB34EF07C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394" y="5565084"/>
            <a:ext cx="696306" cy="83286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420603C-4CE6-4661-BE19-0D880356C16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376607" y="5251828"/>
            <a:ext cx="3240057" cy="1199784"/>
          </a:xfrm>
        </p:spPr>
        <p:txBody>
          <a:bodyPr/>
          <a:lstStyle>
            <a:lvl1pPr>
              <a:lnSpc>
                <a:spcPts val="1735"/>
              </a:lnSpc>
              <a:spcAft>
                <a:spcPts val="200"/>
              </a:spcAft>
              <a:defRPr lang="en-US" sz="1733" cap="all">
                <a:solidFill>
                  <a:srgbClr val="FFFFFF"/>
                </a:solidFill>
              </a:defRPr>
            </a:lvl1pPr>
            <a:lvl2pPr>
              <a:spcAft>
                <a:spcPts val="800"/>
              </a:spcAft>
              <a:defRPr lang="en-US" sz="1733">
                <a:solidFill>
                  <a:srgbClr val="FFFFFF"/>
                </a:solidFill>
              </a:defRPr>
            </a:lvl2pPr>
            <a:lvl3pPr indent="0">
              <a:buNone/>
              <a:defRPr lang="en-US" sz="1733" b="1">
                <a:solidFill>
                  <a:srgbClr val="FFFFFF"/>
                </a:solidFill>
                <a:latin typeface="Calibri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3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50E716A6-EBE9-4F16-94D6-2CDAB9DE33E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375547" y="2236549"/>
            <a:ext cx="7500210" cy="749734"/>
          </a:xfrm>
        </p:spPr>
        <p:txBody>
          <a:bodyPr/>
          <a:lstStyle>
            <a:lvl1pPr>
              <a:lnSpc>
                <a:spcPts val="5865"/>
              </a:lnSpc>
              <a:defRPr sz="5865" cap="all">
                <a:solidFill>
                  <a:srgbClr val="FFFFFF"/>
                </a:solidFill>
                <a:latin typeface="Calibri Light" pitchFamily="34"/>
                <a:cs typeface="Calibri Light" pitchFamily="34"/>
              </a:defRPr>
            </a:lvl1pPr>
          </a:lstStyle>
          <a:p>
            <a:pPr lvl="0"/>
            <a:r>
              <a:rPr lang="en-US"/>
              <a:t>CLICK TO EDIT MASTER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80016455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>
            <a:extLst>
              <a:ext uri="{FF2B5EF4-FFF2-40B4-BE49-F238E27FC236}">
                <a16:creationId xmlns:a16="http://schemas.microsoft.com/office/drawing/2014/main" id="{4B5F07A1-3A88-4D9F-A5AC-D11D541F34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41"/>
            <a:ext cx="12191996" cy="685631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3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9AEF8FFB-3864-4081-AE35-6BA674A309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321" y="428579"/>
            <a:ext cx="1056461" cy="1407828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58B14582-31DD-43E8-B590-9946D9891F3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375547" y="3028785"/>
            <a:ext cx="7500210" cy="1120066"/>
          </a:xfrm>
        </p:spPr>
        <p:txBody>
          <a:bodyPr/>
          <a:lstStyle>
            <a:lvl1pPr>
              <a:lnSpc>
                <a:spcPts val="3330"/>
              </a:lnSpc>
              <a:defRPr lang="en-US" sz="2932" b="0">
                <a:solidFill>
                  <a:srgbClr val="36BCEE"/>
                </a:solidFill>
              </a:defRPr>
            </a:lvl1pPr>
            <a:lvl2pPr>
              <a:lnSpc>
                <a:spcPts val="1735"/>
              </a:lnSpc>
              <a:defRPr lang="en-US" sz="1733" b="1" cap="all">
                <a:solidFill>
                  <a:srgbClr val="12326E"/>
                </a:solidFill>
                <a:latin typeface="Calibri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5" name="Picture 13">
            <a:extLst>
              <a:ext uri="{FF2B5EF4-FFF2-40B4-BE49-F238E27FC236}">
                <a16:creationId xmlns:a16="http://schemas.microsoft.com/office/drawing/2014/main" id="{9386B9AB-AC37-4426-9C10-049E45BA00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689" y="5565084"/>
            <a:ext cx="696306" cy="832862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77CB537-8440-456E-BBDC-95DA48C1597F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376607" y="5251828"/>
            <a:ext cx="3240057" cy="1199784"/>
          </a:xfrm>
        </p:spPr>
        <p:txBody>
          <a:bodyPr/>
          <a:lstStyle>
            <a:lvl1pPr>
              <a:lnSpc>
                <a:spcPts val="1735"/>
              </a:lnSpc>
              <a:spcAft>
                <a:spcPts val="200"/>
              </a:spcAft>
              <a:defRPr lang="en-US" sz="1733" cap="all">
                <a:solidFill>
                  <a:srgbClr val="12326E"/>
                </a:solidFill>
              </a:defRPr>
            </a:lvl1pPr>
            <a:lvl2pPr>
              <a:spcAft>
                <a:spcPts val="800"/>
              </a:spcAft>
              <a:defRPr lang="en-US" sz="1733">
                <a:solidFill>
                  <a:srgbClr val="12326E"/>
                </a:solidFill>
              </a:defRPr>
            </a:lvl2pPr>
            <a:lvl3pPr indent="0">
              <a:buNone/>
              <a:defRPr lang="en-US" sz="1733" b="1">
                <a:solidFill>
                  <a:srgbClr val="12326E"/>
                </a:solidFill>
                <a:latin typeface="Calibri"/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0DE0EDE2-E4B9-40BC-ABF7-C4A1206CF49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375547" y="2236549"/>
            <a:ext cx="7500210" cy="749734"/>
          </a:xfrm>
        </p:spPr>
        <p:txBody>
          <a:bodyPr/>
          <a:lstStyle>
            <a:lvl1pPr>
              <a:lnSpc>
                <a:spcPts val="5865"/>
              </a:lnSpc>
              <a:defRPr lang="en-AU" sz="5865" cap="all">
                <a:latin typeface="Calibri Light" pitchFamily="34"/>
                <a:cs typeface="Calibri Light" pitchFamily="34"/>
              </a:defRPr>
            </a:lvl1pPr>
          </a:lstStyle>
          <a:p>
            <a:pPr lvl="0"/>
            <a:r>
              <a:rPr lang="en-AU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36737429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C4B10C6-0A6E-44E7-AF10-6D57120864D3}"/>
              </a:ext>
            </a:extLst>
          </p:cNvPr>
          <p:cNvSpPr txBox="1">
            <a:spLocks noGrp="1"/>
          </p:cNvSpPr>
          <p:nvPr>
            <p:ph idx="4294967295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AU"/>
              <a:t>Use the increase/decrease list level buttons to change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  <a:p>
            <a:pPr lvl="5"/>
            <a:r>
              <a:rPr lang="en-AU"/>
              <a:t>Sixth level</a:t>
            </a:r>
          </a:p>
          <a:p>
            <a:pPr lvl="6"/>
            <a:r>
              <a:rPr lang="en-AU"/>
              <a:t>Seventh level</a:t>
            </a:r>
          </a:p>
          <a:p>
            <a:pPr lvl="7"/>
            <a:r>
              <a:rPr lang="en-AU"/>
              <a:t>Eighth level</a:t>
            </a:r>
          </a:p>
          <a:p>
            <a:pPr lvl="8"/>
            <a:r>
              <a:rPr lang="en-AU"/>
              <a:t>Ninth level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B45BEC2B-9972-4DDB-8B99-FFD9CD6FC9A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3019827-51C1-40B8-A429-900977EC78D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CD2C811-7BF9-42FB-9679-512BFEB1B6ED}" type="slidenum">
              <a:t>‹#›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8C8DF0-C876-4A9C-ADF4-8D9E2BC49E7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| PowerPoint document title goes here. Subtitle goes here</a:t>
            </a:r>
            <a:endParaRPr lang="en-AU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E6308946-4BFC-4F78-910C-72A56ADE6F26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9515785" y="6334048"/>
            <a:ext cx="2256455" cy="36394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999" b="1" i="0" u="none" strike="noStrike" kern="1200" cap="all" spc="0" baseline="0">
                <a:solidFill>
                  <a:srgbClr val="FFFFFF"/>
                </a:solidFill>
                <a:uFillTx/>
                <a:latin typeface="Calibri"/>
              </a:defRPr>
            </a:lvl1pPr>
          </a:lstStyle>
          <a:p>
            <a:pPr lvl="0"/>
            <a:r>
              <a:rPr lang="en-US"/>
              <a:t>Business unit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43752981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2A532B7C-9069-4540-A2EC-9311774EC34C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816330" y="1481044"/>
            <a:ext cx="10956642" cy="4466011"/>
          </a:xfrm>
        </p:spPr>
        <p:txBody>
          <a:bodyPr/>
          <a:lstStyle>
            <a:lvl1pPr>
              <a:lnSpc>
                <a:spcPts val="2080"/>
              </a:lnSpc>
              <a:spcAft>
                <a:spcPts val="1890"/>
              </a:spcAft>
              <a:defRPr sz="1733">
                <a:solidFill>
                  <a:srgbClr val="12326E"/>
                </a:solidFill>
              </a:defRPr>
            </a:lvl1pPr>
            <a:lvl2pPr>
              <a:lnSpc>
                <a:spcPts val="2080"/>
              </a:lnSpc>
              <a:spcAft>
                <a:spcPts val="1890"/>
              </a:spcAft>
              <a:defRPr sz="1733" b="1">
                <a:solidFill>
                  <a:srgbClr val="12326E"/>
                </a:solidFill>
              </a:defRPr>
            </a:lvl2pPr>
            <a:lvl3pPr indent="0">
              <a:lnSpc>
                <a:spcPts val="2080"/>
              </a:lnSpc>
              <a:spcAft>
                <a:spcPts val="1890"/>
              </a:spcAft>
              <a:buNone/>
              <a:defRPr sz="1733" b="1">
                <a:solidFill>
                  <a:srgbClr val="12326E"/>
                </a:solidFill>
              </a:defRPr>
            </a:lvl3pPr>
            <a:lvl4pPr marL="0" indent="0">
              <a:lnSpc>
                <a:spcPts val="2080"/>
              </a:lnSpc>
              <a:spcAft>
                <a:spcPts val="1890"/>
              </a:spcAft>
              <a:buNone/>
              <a:defRPr sz="1733" b="1">
                <a:solidFill>
                  <a:srgbClr val="12326E"/>
                </a:solidFill>
              </a:defRPr>
            </a:lvl4pPr>
            <a:lvl5pPr marL="0" indent="0">
              <a:lnSpc>
                <a:spcPts val="2080"/>
              </a:lnSpc>
              <a:spcAft>
                <a:spcPts val="1890"/>
              </a:spcAft>
              <a:buNone/>
              <a:defRPr sz="1733" b="1">
                <a:solidFill>
                  <a:srgbClr val="12326E"/>
                </a:solidFill>
              </a:defRPr>
            </a:lvl5pPr>
            <a:lvl6pPr marL="0" indent="0">
              <a:lnSpc>
                <a:spcPts val="2080"/>
              </a:lnSpc>
              <a:spcAft>
                <a:spcPts val="1890"/>
              </a:spcAft>
              <a:buNone/>
              <a:defRPr sz="1733" b="1">
                <a:solidFill>
                  <a:srgbClr val="12326E"/>
                </a:solidFill>
              </a:defRPr>
            </a:lvl6pPr>
          </a:lstStyle>
          <a:p>
            <a:pPr lvl="0"/>
            <a:r>
              <a:rPr lang="en-AU"/>
              <a:t>Use the increase/decrease list level buttons to change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  <a:p>
            <a:pPr lvl="5"/>
            <a:endParaRPr lang="en-AU"/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1ED956C3-7522-4C3D-9C95-56937ADB7BA3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BB89544B-C69C-4086-96F3-478E5AFB4C5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72625" y="2495040"/>
            <a:ext cx="279349" cy="296238"/>
          </a:xfrm>
        </p:spPr>
        <p:txBody>
          <a:bodyPr/>
          <a:lstStyle>
            <a:lvl1pPr>
              <a:lnSpc>
                <a:spcPts val="2080"/>
              </a:lnSpc>
              <a:spcAft>
                <a:spcPts val="1890"/>
              </a:spcAft>
              <a:defRPr sz="1733">
                <a:solidFill>
                  <a:srgbClr val="12326E"/>
                </a:solidFill>
              </a:defRPr>
            </a:lvl1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463B3BD1-9482-4476-BAF9-6D6636BAB41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72049" y="1481044"/>
            <a:ext cx="279349" cy="296238"/>
          </a:xfrm>
        </p:spPr>
        <p:txBody>
          <a:bodyPr/>
          <a:lstStyle>
            <a:lvl1pPr>
              <a:lnSpc>
                <a:spcPts val="2080"/>
              </a:lnSpc>
              <a:spcAft>
                <a:spcPts val="1890"/>
              </a:spcAft>
              <a:defRPr sz="1733">
                <a:solidFill>
                  <a:srgbClr val="12326E"/>
                </a:solidFill>
              </a:defRPr>
            </a:lvl1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37B15F7B-8031-414C-BF08-7DBA676C57B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72049" y="1988042"/>
            <a:ext cx="279349" cy="296238"/>
          </a:xfrm>
        </p:spPr>
        <p:txBody>
          <a:bodyPr/>
          <a:lstStyle>
            <a:lvl1pPr>
              <a:lnSpc>
                <a:spcPts val="2080"/>
              </a:lnSpc>
              <a:spcAft>
                <a:spcPts val="1890"/>
              </a:spcAft>
              <a:defRPr sz="1733">
                <a:solidFill>
                  <a:srgbClr val="12326E"/>
                </a:solidFill>
              </a:defRPr>
            </a:lvl1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43562A59-9E8F-494D-A89C-F592309BE08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72049" y="3005248"/>
            <a:ext cx="279349" cy="296238"/>
          </a:xfrm>
        </p:spPr>
        <p:txBody>
          <a:bodyPr/>
          <a:lstStyle>
            <a:lvl1pPr>
              <a:lnSpc>
                <a:spcPts val="2080"/>
              </a:lnSpc>
              <a:spcAft>
                <a:spcPts val="1890"/>
              </a:spcAft>
              <a:defRPr sz="1733">
                <a:solidFill>
                  <a:srgbClr val="12326E"/>
                </a:solidFill>
              </a:defRPr>
            </a:lvl1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180655EA-8A04-4674-878F-C22DB4B7029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72049" y="3513984"/>
            <a:ext cx="279349" cy="296238"/>
          </a:xfrm>
        </p:spPr>
        <p:txBody>
          <a:bodyPr/>
          <a:lstStyle>
            <a:lvl1pPr>
              <a:lnSpc>
                <a:spcPts val="2080"/>
              </a:lnSpc>
              <a:spcAft>
                <a:spcPts val="1890"/>
              </a:spcAft>
              <a:defRPr sz="1733">
                <a:solidFill>
                  <a:srgbClr val="12326E"/>
                </a:solidFill>
              </a:defRPr>
            </a:lvl1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74B1800-8E7D-4EE2-8958-4B200C7C89D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B97235D-64A3-4E1F-9CEF-BC91B64A80AE}" type="slidenum">
              <a:t>‹#›</a:t>
            </a:fld>
            <a:endParaRPr lang="en-AU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69392D9-0FF1-4A3A-9BBD-6B1A455646F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| PowerPoint document title goes here. Subtitle goes here</a:t>
            </a:r>
            <a:endParaRPr lang="en-AU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24DCE1C-FB0D-43CF-B890-2375B66E29EE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9515785" y="6334048"/>
            <a:ext cx="2256455" cy="36394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999" b="1" i="0" u="none" strike="noStrike" kern="1200" cap="all" spc="0" baseline="0">
                <a:solidFill>
                  <a:srgbClr val="FFFFFF"/>
                </a:solidFill>
                <a:uFillTx/>
                <a:latin typeface="Calibri"/>
              </a:defRPr>
            </a:lvl1pPr>
          </a:lstStyle>
          <a:p>
            <a:pPr lvl="0"/>
            <a:r>
              <a:rPr lang="en-US"/>
              <a:t>Business unit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301435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95C339-3D9E-4A8A-B8D3-E3269CAFAE64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DFEC35-B43C-4718-9465-BDA461E6A86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65BDD33B-1CA0-4E60-87FC-A4D4208279AC}" type="slidenum">
              <a:t>‹#›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E57994-6535-429D-AA90-4191394AB3FC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| PowerPoint document title goes here. Subtitle goes here</a:t>
            </a:r>
            <a:endParaRPr lang="en-AU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9A8302FB-E367-4498-8843-3B4B23EEABDE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9515785" y="6334048"/>
            <a:ext cx="2256455" cy="36394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999" b="1" i="0" u="none" strike="noStrike" kern="1200" cap="all" spc="0" baseline="0">
                <a:solidFill>
                  <a:srgbClr val="FFFFFF"/>
                </a:solidFill>
                <a:uFillTx/>
                <a:latin typeface="Calibri"/>
              </a:defRPr>
            </a:lvl1pPr>
          </a:lstStyle>
          <a:p>
            <a:pPr lvl="0"/>
            <a:r>
              <a:rPr lang="en-US"/>
              <a:t>Business unit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40441985"/>
      </p:ext>
    </p:extLst>
  </p:cSld>
  <p:clrMapOvr>
    <a:masterClrMapping/>
  </p:clrMapOvr>
  <p:hf sldNum="0"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ou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8F3C5E-D950-4DFD-9BC8-0F4EFEB812E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428719" y="1592272"/>
            <a:ext cx="6667091" cy="2759458"/>
          </a:xfrm>
        </p:spPr>
        <p:txBody>
          <a:bodyPr/>
          <a:lstStyle>
            <a:lvl1pPr>
              <a:lnSpc>
                <a:spcPts val="7065"/>
              </a:lnSpc>
              <a:defRPr sz="7464">
                <a:latin typeface="Calibri Light" pitchFamily="34"/>
                <a:cs typeface="Calibri Light" pitchFamily="34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F9C44F2-3639-4897-8FC4-7DBC5715F6C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47B19C0-C43E-48E1-9961-508C4429153C}" type="slidenum">
              <a:t>‹#›</a:t>
            </a:fld>
            <a:endParaRPr lang="en-AU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B5BB86BA-1E68-472A-BE16-A6F4E03827E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| PowerPoint document title goes here. Subtitle goes here</a:t>
            </a:r>
            <a:endParaRPr lang="en-AU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736DF525-D4ED-4BFA-AB91-922DB4C34619}"/>
              </a:ext>
            </a:extLst>
          </p:cNvPr>
          <p:cNvSpPr txBox="1">
            <a:spLocks noGrp="1"/>
          </p:cNvSpPr>
          <p:nvPr>
            <p:ph type="dt" sz="quarter" idx="7"/>
          </p:nvPr>
        </p:nvSpPr>
        <p:spPr>
          <a:xfrm>
            <a:off x="9515785" y="6334048"/>
            <a:ext cx="2256455" cy="36394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US" sz="1999" b="1" i="0" u="none" strike="noStrike" kern="1200" cap="all" spc="0" baseline="0">
                <a:solidFill>
                  <a:srgbClr val="FFFFFF"/>
                </a:solidFill>
                <a:uFillTx/>
                <a:latin typeface="Calibri"/>
              </a:defRPr>
            </a:lvl1pPr>
          </a:lstStyle>
          <a:p>
            <a:pPr lvl="0"/>
            <a:r>
              <a:rPr lang="en-US"/>
              <a:t>Business unit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666049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A254055-6B03-49CE-88B9-613DF68EC1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2" y="4"/>
            <a:ext cx="12182819" cy="685799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212E7E7-7ACF-4ECB-BD2F-98A28F169A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0319" y="442845"/>
            <a:ext cx="1056459" cy="1407827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DA55AD-26F8-406E-B4FA-E4C26D9A3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76233" y="3039740"/>
            <a:ext cx="7559528" cy="1289082"/>
          </a:xfrm>
        </p:spPr>
        <p:txBody>
          <a:bodyPr/>
          <a:lstStyle>
            <a:lvl1pPr>
              <a:lnSpc>
                <a:spcPts val="2499"/>
              </a:lnSpc>
              <a:defRPr sz="2199" b="0">
                <a:solidFill>
                  <a:schemeClr val="accent2"/>
                </a:solidFill>
              </a:defRPr>
            </a:lvl1pPr>
            <a:lvl2pPr>
              <a:lnSpc>
                <a:spcPts val="1199"/>
              </a:lnSpc>
              <a:defRPr sz="1300" b="1" cap="all" baseline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ts val="2499"/>
              </a:lnSpc>
              <a:buFontTx/>
              <a:buNone/>
              <a:defRPr sz="2199">
                <a:solidFill>
                  <a:schemeClr val="accent2"/>
                </a:solidFill>
              </a:defRPr>
            </a:lvl3pPr>
            <a:lvl4pPr marL="0" indent="0">
              <a:lnSpc>
                <a:spcPts val="2499"/>
              </a:lnSpc>
              <a:buFontTx/>
              <a:buNone/>
              <a:defRPr sz="2199">
                <a:solidFill>
                  <a:schemeClr val="accent2"/>
                </a:solidFill>
              </a:defRPr>
            </a:lvl4pPr>
            <a:lvl5pPr marL="0" indent="0">
              <a:lnSpc>
                <a:spcPts val="2499"/>
              </a:lnSpc>
              <a:buFontTx/>
              <a:buNone/>
              <a:defRPr sz="2199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17ACDE-0D20-4108-A53F-263CBA2E00E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50396" y="5565083"/>
            <a:ext cx="696307" cy="83286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7FA8E9-06E7-4D6F-B717-FFEA068CB5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76606" y="5251825"/>
            <a:ext cx="3240053" cy="1199780"/>
          </a:xfrm>
        </p:spPr>
        <p:txBody>
          <a:bodyPr/>
          <a:lstStyle>
            <a:lvl1pPr>
              <a:lnSpc>
                <a:spcPts val="1300"/>
              </a:lnSpc>
              <a:spcAft>
                <a:spcPts val="150"/>
              </a:spcAft>
              <a:defRPr sz="1300" cap="all" baseline="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300">
                <a:solidFill>
                  <a:schemeClr val="bg1"/>
                </a:solidFill>
              </a:defRPr>
            </a:lvl2pPr>
            <a:lvl3pPr marL="0" indent="0">
              <a:buFontTx/>
              <a:buNone/>
              <a:defRPr sz="1300" b="1">
                <a:solidFill>
                  <a:schemeClr val="bg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3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FE25FDAA-8EEA-4A43-92B3-C0C10A2B5E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5549" y="2236551"/>
            <a:ext cx="7500216" cy="749735"/>
          </a:xfrm>
        </p:spPr>
        <p:txBody>
          <a:bodyPr/>
          <a:lstStyle>
            <a:lvl1pPr>
              <a:lnSpc>
                <a:spcPts val="4399"/>
              </a:lnSpc>
              <a:defRPr sz="4399" cap="all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910251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6318" y="1960563"/>
            <a:ext cx="5389033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8552" y="1960563"/>
            <a:ext cx="5389033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2FD7F-5FD0-46AA-A35A-54F2CA769C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DD204F5-A554-4C7E-8BB1-186AA20210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47"/>
            <a:ext cx="12192000" cy="6856313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2378A0EB-3FAD-47FB-8FD4-867829E2B18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0320" y="428581"/>
            <a:ext cx="1056459" cy="1407827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DA55AD-26F8-406E-B4FA-E4C26D9A3FF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75549" y="3028788"/>
            <a:ext cx="7500216" cy="1120070"/>
          </a:xfrm>
        </p:spPr>
        <p:txBody>
          <a:bodyPr/>
          <a:lstStyle>
            <a:lvl1pPr>
              <a:lnSpc>
                <a:spcPts val="2499"/>
              </a:lnSpc>
              <a:defRPr sz="2199" b="0">
                <a:solidFill>
                  <a:schemeClr val="accent2"/>
                </a:solidFill>
              </a:defRPr>
            </a:lvl1pPr>
            <a:lvl2pPr>
              <a:lnSpc>
                <a:spcPts val="1300"/>
              </a:lnSpc>
              <a:defRPr sz="1300" b="1" cap="all" baseline="0">
                <a:solidFill>
                  <a:schemeClr val="bg2"/>
                </a:solidFill>
                <a:latin typeface="+mj-lt"/>
              </a:defRPr>
            </a:lvl2pPr>
            <a:lvl3pPr marL="0" indent="0">
              <a:lnSpc>
                <a:spcPts val="2499"/>
              </a:lnSpc>
              <a:buFontTx/>
              <a:buNone/>
              <a:defRPr sz="2199">
                <a:solidFill>
                  <a:schemeClr val="accent2"/>
                </a:solidFill>
              </a:defRPr>
            </a:lvl3pPr>
            <a:lvl4pPr marL="0" indent="0">
              <a:lnSpc>
                <a:spcPts val="2499"/>
              </a:lnSpc>
              <a:buFontTx/>
              <a:buNone/>
              <a:defRPr sz="2199">
                <a:solidFill>
                  <a:schemeClr val="accent2"/>
                </a:solidFill>
              </a:defRPr>
            </a:lvl4pPr>
            <a:lvl5pPr marL="0" indent="0">
              <a:lnSpc>
                <a:spcPts val="2499"/>
              </a:lnSpc>
              <a:buFontTx/>
              <a:buNone/>
              <a:defRPr sz="2199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17ACDE-0D20-4108-A53F-263CBA2E00E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52688" y="5565085"/>
            <a:ext cx="696307" cy="832863"/>
          </a:xfrm>
          <a:prstGeom prst="rect">
            <a:avLst/>
          </a:prstGeom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F56A0FF-2542-4A87-A4C1-D1D509E8DC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76606" y="5251825"/>
            <a:ext cx="3240053" cy="1199780"/>
          </a:xfrm>
        </p:spPr>
        <p:txBody>
          <a:bodyPr/>
          <a:lstStyle>
            <a:lvl1pPr>
              <a:lnSpc>
                <a:spcPts val="1300"/>
              </a:lnSpc>
              <a:spcAft>
                <a:spcPts val="150"/>
              </a:spcAft>
              <a:defRPr sz="1300" cap="all" baseline="0">
                <a:solidFill>
                  <a:schemeClr val="accent1"/>
                </a:solidFill>
              </a:defRPr>
            </a:lvl1pPr>
            <a:lvl2pPr>
              <a:spcAft>
                <a:spcPts val="600"/>
              </a:spcAft>
              <a:defRPr sz="1300">
                <a:solidFill>
                  <a:schemeClr val="accent1"/>
                </a:solidFill>
              </a:defRPr>
            </a:lvl2pPr>
            <a:lvl3pPr marL="0" indent="0">
              <a:buFontTx/>
              <a:buNone/>
              <a:defRPr sz="1300" b="1">
                <a:solidFill>
                  <a:schemeClr val="accent1"/>
                </a:solidFill>
                <a:latin typeface="+mj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b="1" dirty="0"/>
              <a:t>Third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88F6E63-A4DA-4A4E-9416-B71EA3F91C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5549" y="2236551"/>
            <a:ext cx="7500216" cy="749735"/>
          </a:xfrm>
        </p:spPr>
        <p:txBody>
          <a:bodyPr/>
          <a:lstStyle>
            <a:lvl1pPr>
              <a:lnSpc>
                <a:spcPts val="4399"/>
              </a:lnSpc>
              <a:defRPr sz="4399" cap="all" baseline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AU" dirty="0"/>
              <a:t>CLICK TO EDIT MASTER</a:t>
            </a:r>
          </a:p>
        </p:txBody>
      </p:sp>
    </p:spTree>
    <p:extLst>
      <p:ext uri="{BB962C8B-B14F-4D97-AF65-F5344CB8AC3E}">
        <p14:creationId xmlns:p14="http://schemas.microsoft.com/office/powerpoint/2010/main" val="10576273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132B43-CE0D-4562-9A9B-44DB3B0711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4205" y="6353382"/>
            <a:ext cx="223519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099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567FC75-41DD-4163-B709-F5E6E325B1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724" y="6353382"/>
            <a:ext cx="5838251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9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4BB4F1F-6179-4449-8C1D-007D69586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515787" y="6334045"/>
            <a:ext cx="2256456" cy="3639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499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771329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16332" y="1481044"/>
            <a:ext cx="10956643" cy="4466013"/>
          </a:xfrm>
        </p:spPr>
        <p:txBody>
          <a:bodyPr/>
          <a:lstStyle>
            <a:lvl1pPr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1pPr>
            <a:lvl2pPr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2pPr>
            <a:lvl3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3pPr>
            <a:lvl4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4pPr>
            <a:lvl5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 baseline="0">
                <a:solidFill>
                  <a:schemeClr val="accent1"/>
                </a:solidFill>
              </a:defRPr>
            </a:lvl5pPr>
            <a:lvl6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6pPr>
            <a:lvl7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7pPr>
            <a:lvl8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8pPr>
            <a:lvl9pPr marL="0" indent="0">
              <a:lnSpc>
                <a:spcPts val="1559"/>
              </a:lnSpc>
              <a:spcAft>
                <a:spcPts val="1417"/>
              </a:spcAft>
              <a:buFontTx/>
              <a:buNone/>
              <a:defRPr sz="13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endParaRPr lang="en-AU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352380-AA95-4D88-8A7E-3DCCA83B89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623" y="2495042"/>
            <a:ext cx="279352" cy="296242"/>
          </a:xfrm>
        </p:spPr>
        <p:txBody>
          <a:bodyPr/>
          <a:lstStyle>
            <a:lvl1pPr>
              <a:lnSpc>
                <a:spcPts val="1559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59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59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59"/>
              </a:lnSpc>
              <a:spcAft>
                <a:spcPts val="1417"/>
              </a:spcAft>
              <a:defRPr sz="1300"/>
            </a:lvl4pPr>
            <a:lvl5pPr>
              <a:lnSpc>
                <a:spcPts val="1559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9BDBFEE-94B0-45F9-869C-98F2F9E8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2053" y="1481041"/>
            <a:ext cx="279352" cy="296242"/>
          </a:xfrm>
        </p:spPr>
        <p:txBody>
          <a:bodyPr/>
          <a:lstStyle>
            <a:lvl1pPr>
              <a:lnSpc>
                <a:spcPts val="1559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59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59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59"/>
              </a:lnSpc>
              <a:spcAft>
                <a:spcPts val="1417"/>
              </a:spcAft>
              <a:defRPr sz="1300"/>
            </a:lvl4pPr>
            <a:lvl5pPr>
              <a:lnSpc>
                <a:spcPts val="1559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1E36714-AF73-4B1C-96E5-ABB2635232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2053" y="1988041"/>
            <a:ext cx="279352" cy="296242"/>
          </a:xfrm>
        </p:spPr>
        <p:txBody>
          <a:bodyPr/>
          <a:lstStyle>
            <a:lvl1pPr>
              <a:lnSpc>
                <a:spcPts val="1559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59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59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59"/>
              </a:lnSpc>
              <a:spcAft>
                <a:spcPts val="1417"/>
              </a:spcAft>
              <a:defRPr sz="1300"/>
            </a:lvl4pPr>
            <a:lvl5pPr>
              <a:lnSpc>
                <a:spcPts val="1559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468B7204-21B8-46BA-9AD0-DE0A4D3AC0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2053" y="3005245"/>
            <a:ext cx="279352" cy="296242"/>
          </a:xfrm>
        </p:spPr>
        <p:txBody>
          <a:bodyPr/>
          <a:lstStyle>
            <a:lvl1pPr>
              <a:lnSpc>
                <a:spcPts val="1559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59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59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59"/>
              </a:lnSpc>
              <a:spcAft>
                <a:spcPts val="1417"/>
              </a:spcAft>
              <a:defRPr sz="1300"/>
            </a:lvl4pPr>
            <a:lvl5pPr>
              <a:lnSpc>
                <a:spcPts val="1559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DCB0F119-1F36-4F90-A98F-51D46A773B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2053" y="3513986"/>
            <a:ext cx="279352" cy="296242"/>
          </a:xfrm>
        </p:spPr>
        <p:txBody>
          <a:bodyPr/>
          <a:lstStyle>
            <a:lvl1pPr>
              <a:lnSpc>
                <a:spcPts val="1559"/>
              </a:lnSpc>
              <a:spcAft>
                <a:spcPts val="1417"/>
              </a:spcAft>
              <a:defRPr sz="1300">
                <a:solidFill>
                  <a:schemeClr val="bg2"/>
                </a:solidFill>
              </a:defRPr>
            </a:lvl1pPr>
            <a:lvl2pPr>
              <a:lnSpc>
                <a:spcPts val="1559"/>
              </a:lnSpc>
              <a:spcAft>
                <a:spcPts val="1417"/>
              </a:spcAft>
              <a:defRPr sz="1300"/>
            </a:lvl2pPr>
            <a:lvl3pPr marL="0" indent="0">
              <a:lnSpc>
                <a:spcPts val="1559"/>
              </a:lnSpc>
              <a:spcAft>
                <a:spcPts val="1417"/>
              </a:spcAft>
              <a:buNone/>
              <a:defRPr sz="1300" b="1">
                <a:solidFill>
                  <a:schemeClr val="accent1"/>
                </a:solidFill>
              </a:defRPr>
            </a:lvl3pPr>
            <a:lvl4pPr>
              <a:lnSpc>
                <a:spcPts val="1559"/>
              </a:lnSpc>
              <a:spcAft>
                <a:spcPts val="1417"/>
              </a:spcAft>
              <a:defRPr sz="1300"/>
            </a:lvl4pPr>
            <a:lvl5pPr>
              <a:lnSpc>
                <a:spcPts val="1559"/>
              </a:lnSpc>
              <a:spcAft>
                <a:spcPts val="1417"/>
              </a:spcAft>
              <a:defRPr sz="1300"/>
            </a:lvl5pPr>
          </a:lstStyle>
          <a:p>
            <a:pPr lvl="0"/>
            <a:r>
              <a:rPr lang="en-AU" dirty="0"/>
              <a:t>#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6311E4-924A-41DF-9A0C-C7D8D3465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4205" y="6353382"/>
            <a:ext cx="223519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099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7256E03-A911-4CA5-8226-9EDC307FD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724" y="6353382"/>
            <a:ext cx="5838251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9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E823CE97-841C-4759-9344-236C9B78D3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515787" y="6334045"/>
            <a:ext cx="2256456" cy="3639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499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61598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4" pos="216">
          <p15:clr>
            <a:srgbClr val="FBAE40"/>
          </p15:clr>
        </p15:guide>
        <p15:guide id="5" orient="horz" pos="43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C2A045-2F4B-46E5-B2E8-B43EA8094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3DDF0D-ABA6-42D5-872E-F6ED7A8BF3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F14CD3-109A-429A-BB30-F4CD29381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| PowerPoint document title goes here. </a:t>
            </a:r>
            <a:r>
              <a:rPr lang="en-GB" b="0"/>
              <a:t>Subtitle goes here</a:t>
            </a:r>
            <a:endParaRPr lang="en-AU" b="0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49597B9-64C9-4C6D-B9F9-8958F4EF98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515787" y="6334045"/>
            <a:ext cx="2256456" cy="3639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499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661461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llou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C8FFC-B440-49DD-86A9-5239FD217E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8717" y="1592271"/>
            <a:ext cx="6667096" cy="2759455"/>
          </a:xfrm>
        </p:spPr>
        <p:txBody>
          <a:bodyPr/>
          <a:lstStyle>
            <a:lvl1pPr>
              <a:lnSpc>
                <a:spcPts val="5299"/>
              </a:lnSpc>
              <a:defRPr sz="5599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4AD002D-304E-4F8B-B74E-4ED2FEF5BB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4205" y="6353382"/>
            <a:ext cx="223519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099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01D5C8-FC6F-4F0A-8F3F-9423B88B11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724" y="6353382"/>
            <a:ext cx="5838251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9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1EC8F6C4-666A-443D-8972-6DCCADCF89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515787" y="6334045"/>
            <a:ext cx="2256456" cy="3639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499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805146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1EC4FF-AF6C-4528-BC0E-A24B159298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A6B578-E865-429D-8C8F-CF764D3C88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4EE18F-6C96-4EFA-BD14-80D17E2B8B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7BC0EC-1599-46B3-9CC0-6DBC73E2C24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5729E7-AB26-4AFF-9930-5F619940F8A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48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51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47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45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49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Relationship Id="rId22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29.xml"/><Relationship Id="rId7" Type="http://schemas.openxmlformats.org/officeDocument/2006/relationships/theme" Target="../theme/theme3.xml"/><Relationship Id="rId12" Type="http://schemas.openxmlformats.org/officeDocument/2006/relationships/image" Target="../media/image5.jp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31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30.xml"/><Relationship Id="rId9" Type="http://schemas.openxmlformats.org/officeDocument/2006/relationships/tags" Target="../tags/tag9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35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image" Target="../media/image15.png"/><Relationship Id="rId5" Type="http://schemas.openxmlformats.org/officeDocument/2006/relationships/slideLayout" Target="../slideLayouts/slideLayout37.xml"/><Relationship Id="rId10" Type="http://schemas.openxmlformats.org/officeDocument/2006/relationships/image" Target="../media/image14.jpeg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13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5.xml"/><Relationship Id="rId12" Type="http://schemas.openxmlformats.org/officeDocument/2006/relationships/image" Target="../media/image5.jpg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43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42.xml"/><Relationship Id="rId9" Type="http://schemas.openxmlformats.org/officeDocument/2006/relationships/tags" Target="../tags/tag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0871430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0" imgH="0" progId="TCLayout.ActiveDocument.1">
                  <p:embed/>
                </p:oleObj>
              </mc:Choice>
              <mc:Fallback>
                <p:oleObj name="think-cell Slide" r:id="rId23" imgW="0" imgH="0" progId="TCLayout.ActiveDocument.1">
                  <p:embed/>
                  <p:pic>
                    <p:nvPicPr>
                      <p:cNvPr id="1026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584201" y="549276"/>
            <a:ext cx="10979151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148" name="Text Box 4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21168" y="15875"/>
            <a:ext cx="10799233" cy="336550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600" b="1">
              <a:solidFill>
                <a:srgbClr val="000000"/>
              </a:solidFill>
            </a:endParaRPr>
          </a:p>
        </p:txBody>
      </p:sp>
      <p:sp>
        <p:nvSpPr>
          <p:cNvPr id="1030" name="Rectangle 5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586317" y="1960563"/>
            <a:ext cx="10981267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dt" sz="half" idx="2"/>
            <p:custDataLst>
              <p:tags r:id="rId19"/>
            </p:custDataLst>
          </p:nvPr>
        </p:nvSpPr>
        <p:spPr bwMode="auto">
          <a:xfrm>
            <a:off x="584200" y="6324601"/>
            <a:ext cx="3041651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100">
                <a:solidFill>
                  <a:srgbClr val="000000"/>
                </a:solidFill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ftr" sz="quarter" idx="3"/>
            <p:custDataLst>
              <p:tags r:id="rId20"/>
            </p:custDataLst>
          </p:nvPr>
        </p:nvSpPr>
        <p:spPr bwMode="auto">
          <a:xfrm>
            <a:off x="4305300" y="6324601"/>
            <a:ext cx="38608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100">
                <a:solidFill>
                  <a:srgbClr val="000000"/>
                </a:solidFill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6152" name="Rectangle 8"/>
          <p:cNvSpPr>
            <a:spLocks noGrp="1" noChangeArrowheads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8604251" y="6324601"/>
            <a:ext cx="2540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100">
                <a:solidFill>
                  <a:srgbClr val="000000"/>
                </a:solidFill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33E80DA-0374-4EE7-AE0C-64740E950B0B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200">
          <a:solidFill>
            <a:schemeClr val="tx1"/>
          </a:solidFill>
          <a:latin typeface="+mn-lt"/>
          <a:ea typeface="+mn-ea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chemeClr val="tx1"/>
          </a:solidFill>
          <a:latin typeface="+mn-lt"/>
          <a:ea typeface="+mn-ea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2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4749638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0" imgH="0" progId="TCLayout.ActiveDocument.1">
                  <p:embed/>
                </p:oleObj>
              </mc:Choice>
              <mc:Fallback>
                <p:oleObj name="think-cell Slide" r:id="rId23" imgW="0" imgH="0" progId="TCLayout.ActiveDocument.1">
                  <p:embed/>
                  <p:pic>
                    <p:nvPicPr>
                      <p:cNvPr id="1026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584201" y="549276"/>
            <a:ext cx="10979151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148" name="Text Box 4"/>
          <p:cNvSpPr txBox="1">
            <a:spLocks noChangeArrowheads="1"/>
          </p:cNvSpPr>
          <p:nvPr userDrawn="1">
            <p:custDataLst>
              <p:tags r:id="rId17"/>
            </p:custDataLst>
          </p:nvPr>
        </p:nvSpPr>
        <p:spPr bwMode="auto">
          <a:xfrm>
            <a:off x="21168" y="15875"/>
            <a:ext cx="10799233" cy="336550"/>
          </a:xfrm>
          <a:prstGeom prst="rect">
            <a:avLst/>
          </a:prstGeom>
          <a:gradFill rotWithShape="1">
            <a:gsLst>
              <a:gs pos="0">
                <a:srgbClr val="FF6600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600" b="1">
              <a:solidFill>
                <a:srgbClr val="000000"/>
              </a:solidFill>
            </a:endParaRPr>
          </a:p>
        </p:txBody>
      </p:sp>
      <p:sp>
        <p:nvSpPr>
          <p:cNvPr id="1030" name="Rectangle 5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586317" y="1960563"/>
            <a:ext cx="10981267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dt" sz="half" idx="2"/>
            <p:custDataLst>
              <p:tags r:id="rId19"/>
            </p:custDataLst>
          </p:nvPr>
        </p:nvSpPr>
        <p:spPr bwMode="auto">
          <a:xfrm>
            <a:off x="584200" y="6324601"/>
            <a:ext cx="3041651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100">
                <a:solidFill>
                  <a:srgbClr val="000000"/>
                </a:solidFill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ftr" sz="quarter" idx="3"/>
            <p:custDataLst>
              <p:tags r:id="rId20"/>
            </p:custDataLst>
          </p:nvPr>
        </p:nvSpPr>
        <p:spPr bwMode="auto">
          <a:xfrm>
            <a:off x="4305300" y="6324601"/>
            <a:ext cx="38608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100">
                <a:solidFill>
                  <a:srgbClr val="000000"/>
                </a:solidFill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6152" name="Rectangle 8"/>
          <p:cNvSpPr>
            <a:spLocks noGrp="1" noChangeArrowheads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8604251" y="6324601"/>
            <a:ext cx="2540000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100">
                <a:solidFill>
                  <a:srgbClr val="000000"/>
                </a:solidFill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33E80DA-0374-4EE7-AE0C-64740E950B0B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200">
          <a:solidFill>
            <a:schemeClr val="tx1"/>
          </a:solidFill>
          <a:latin typeface="+mn-lt"/>
          <a:ea typeface="+mn-ea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  <a:ea typeface="+mn-ea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chemeClr val="tx1"/>
          </a:solidFill>
          <a:latin typeface="+mn-lt"/>
          <a:ea typeface="+mn-ea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24281F2-9325-4EC8-B373-76A07A10F1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592692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24281F2-9325-4EC8-B373-76A07A10F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1E43821-8BED-49D9-840E-7859D26732A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999" b="0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 descr="A drawing of a person&#10;&#10;Description automatically generated">
            <a:extLst>
              <a:ext uri="{FF2B5EF4-FFF2-40B4-BE49-F238E27FC236}">
                <a16:creationId xmlns:a16="http://schemas.microsoft.com/office/drawing/2014/main" id="{13ED9350-7A18-4559-9F38-9678E526E9C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086087" y="520377"/>
            <a:ext cx="1617859" cy="38428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E59A04E-75F1-45D1-BC44-7BCF24875C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421" r="2601" b="41067"/>
          <a:stretch/>
        </p:blipFill>
        <p:spPr>
          <a:xfrm>
            <a:off x="1" y="6139151"/>
            <a:ext cx="12225076" cy="71900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2052" y="422461"/>
            <a:ext cx="9486139" cy="4564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0320" y="1481044"/>
            <a:ext cx="11285784" cy="4466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4205" y="6353382"/>
            <a:ext cx="223519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099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0200FA-54D1-46FF-AC9C-8127824A4C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724" y="6353382"/>
            <a:ext cx="5838251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9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</p:spTree>
    <p:extLst>
      <p:ext uri="{BB962C8B-B14F-4D97-AF65-F5344CB8AC3E}">
        <p14:creationId xmlns:p14="http://schemas.microsoft.com/office/powerpoint/2010/main" val="1441925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</p:sldLayoutIdLst>
  <p:hf hdr="0"/>
  <p:txStyles>
    <p:titleStyle>
      <a:lvl1pPr algn="l" defTabSz="914126" rtl="0" eaLnBrk="1" latinLnBrk="0" hangingPunct="1">
        <a:lnSpc>
          <a:spcPts val="2999"/>
        </a:lnSpc>
        <a:spcBef>
          <a:spcPct val="0"/>
        </a:spcBef>
        <a:buNone/>
        <a:defRPr sz="2999" b="0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126" rtl="0" eaLnBrk="1" latinLnBrk="0" hangingPunct="1">
        <a:lnSpc>
          <a:spcPts val="1799"/>
        </a:lnSpc>
        <a:spcBef>
          <a:spcPts val="0"/>
        </a:spcBef>
        <a:spcAft>
          <a:spcPts val="567"/>
        </a:spcAft>
        <a:buFont typeface="Arial" pitchFamily="34" charset="0"/>
        <a:buNone/>
        <a:defRPr sz="1499" b="1" kern="1200" baseline="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0" indent="0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100000"/>
        <a:buFontTx/>
        <a:buNone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0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"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03849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755773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499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007697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1259622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1511547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1763471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8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2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7417" userDrawn="1">
          <p15:clr>
            <a:srgbClr val="F26B43"/>
          </p15:clr>
        </p15:guide>
        <p15:guide id="3" orient="horz" pos="430" userDrawn="1">
          <p15:clr>
            <a:srgbClr val="F26B43"/>
          </p15:clr>
        </p15:guide>
        <p15:guide id="4" orient="horz" pos="2811" userDrawn="1">
          <p15:clr>
            <a:srgbClr val="F26B43"/>
          </p15:clr>
        </p15:guide>
        <p15:guide id="5" pos="288" userDrawn="1">
          <p15:clr>
            <a:srgbClr val="F26B43"/>
          </p15:clr>
        </p15:guide>
        <p15:guide id="6" orient="horz" pos="69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>
            <a:extLst>
              <a:ext uri="{FF2B5EF4-FFF2-40B4-BE49-F238E27FC236}">
                <a16:creationId xmlns:a16="http://schemas.microsoft.com/office/drawing/2014/main" id="{3C716BAC-794C-45F5-A176-EC3F3C9092D0}"/>
              </a:ext>
            </a:extLst>
          </p:cNvPr>
          <p:cNvGraphicFramePr/>
          <p:nvPr/>
        </p:nvGraphicFramePr>
        <p:xfrm>
          <a:off x="1591" y="1591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12700" imgH="12700" progId="TCLayout.ActiveDocument.1">
                  <p:embed/>
                </p:oleObj>
              </mc:Choice>
              <mc:Fallback>
                <p:oleObj name="think-cell Slide" r:id="rId8" imgW="12700" imgH="12700" progId="TCLayout.ActiveDocument.1">
                  <p:embed/>
                  <p:pic>
                    <p:nvPicPr>
                      <p:cNvPr id="2" name="Object 7" hidden="1">
                        <a:extLst>
                          <a:ext uri="{FF2B5EF4-FFF2-40B4-BE49-F238E27FC236}">
                            <a16:creationId xmlns:a16="http://schemas.microsoft.com/office/drawing/2014/main" id="{3C716BAC-794C-45F5-A176-EC3F3C9092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91" cy="15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" hidden="1">
            <a:extLst>
              <a:ext uri="{FF2B5EF4-FFF2-40B4-BE49-F238E27FC236}">
                <a16:creationId xmlns:a16="http://schemas.microsoft.com/office/drawing/2014/main" id="{ABF2E3E8-CA7A-4883-9347-6112D0B355E1}"/>
              </a:ext>
            </a:extLst>
          </p:cNvPr>
          <p:cNvSpPr/>
          <p:nvPr/>
        </p:nvSpPr>
        <p:spPr>
          <a:xfrm>
            <a:off x="0" y="0"/>
            <a:ext cx="158748" cy="158748"/>
          </a:xfrm>
          <a:prstGeom prst="rect">
            <a:avLst/>
          </a:prstGeom>
          <a:solidFill>
            <a:srgbClr val="E6E6E6"/>
          </a:solidFill>
          <a:ln cap="flat">
            <a:noFill/>
            <a:prstDash val="solid"/>
          </a:ln>
        </p:spPr>
        <p:txBody>
          <a:bodyPr vert="horz" wrap="none" lIns="0" tIns="0" rIns="0" bIns="0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US" sz="3999" b="0" i="0" u="none" strike="noStrike" kern="1200" cap="none" spc="0" baseline="0">
              <a:solidFill>
                <a:srgbClr val="000000"/>
              </a:solidFill>
              <a:uFillTx/>
              <a:latin typeface="Calibri" pitchFamily="34"/>
              <a:cs typeface="Arial" pitchFamily="34"/>
            </a:endParaRPr>
          </a:p>
        </p:txBody>
      </p:sp>
      <p:pic>
        <p:nvPicPr>
          <p:cNvPr id="4" name="Picture 6" descr="A drawing of a person&#10;&#10;Description automatically generated">
            <a:extLst>
              <a:ext uri="{FF2B5EF4-FFF2-40B4-BE49-F238E27FC236}">
                <a16:creationId xmlns:a16="http://schemas.microsoft.com/office/drawing/2014/main" id="{AA75E9D9-D53F-4B54-9F91-EE289662486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6088" y="520375"/>
            <a:ext cx="1617857" cy="38428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32699431-E7DE-4411-B585-CE4E6E88587E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6139144"/>
            <a:ext cx="12225079" cy="71900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34BC6413-448E-4556-9C9B-1720D0F3DF9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72049" y="422461"/>
            <a:ext cx="9486141" cy="45645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A0FD1B3-5E06-45A3-8467-CEE3FE75158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70321" y="1481044"/>
            <a:ext cx="11285780" cy="44660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lvl="0"/>
            <a:r>
              <a:rPr lang="en-AU"/>
              <a:t>Use the increase/decrease list level buttons to change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</a:p>
          <a:p>
            <a:pPr lvl="5"/>
            <a:r>
              <a:rPr lang="en-AU"/>
              <a:t>Sixth level</a:t>
            </a:r>
          </a:p>
          <a:p>
            <a:pPr lvl="6"/>
            <a:r>
              <a:rPr lang="en-AU"/>
              <a:t>Seventh level</a:t>
            </a:r>
          </a:p>
          <a:p>
            <a:pPr lvl="7"/>
            <a:r>
              <a:rPr lang="en-AU"/>
              <a:t>Eighth level</a:t>
            </a:r>
          </a:p>
          <a:p>
            <a:pPr lvl="8"/>
            <a:r>
              <a:rPr lang="en-AU"/>
              <a:t>Nin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A215F2E-DE77-4FD2-872A-ABA8FF321978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454200" y="6353379"/>
            <a:ext cx="223515" cy="2159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AU" sz="1466" b="1" i="0" u="none" strike="noStrike" kern="1200" cap="none" spc="0" baseline="0">
                <a:solidFill>
                  <a:srgbClr val="12326E"/>
                </a:solidFill>
                <a:uFillTx/>
                <a:latin typeface="Calibri Light"/>
                <a:cs typeface="Arial" pitchFamily="34"/>
              </a:defRPr>
            </a:lvl1pPr>
          </a:lstStyle>
          <a:p>
            <a:pPr lvl="0"/>
            <a:fld id="{70FD2AFA-6987-407D-9190-A2CEA8E2CF17}" type="slidenum">
              <a:t>‹#›</a:t>
            </a:fld>
            <a:endParaRPr lang="en-AU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B8EBC86-9F0F-4862-BC68-A848B8E3862C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677725" y="6353379"/>
            <a:ext cx="5838251" cy="2159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ctr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1466" b="1" i="0" u="none" strike="noStrike" kern="1200" cap="none" spc="0" baseline="0">
                <a:solidFill>
                  <a:srgbClr val="12326E"/>
                </a:solidFill>
                <a:uFillTx/>
                <a:latin typeface="Calibri Light"/>
              </a:defRPr>
            </a:lvl1pPr>
          </a:lstStyle>
          <a:p>
            <a:pPr lvl="0"/>
            <a:r>
              <a:rPr lang="en-GB"/>
              <a:t>| PowerPoint document title goes here. Subtitle goes her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53237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</p:sldLayoutIdLst>
  <p:txStyles>
    <p:titleStyle>
      <a:lvl1pPr marL="0" marR="0" lvl="0" indent="0" algn="l" defTabSz="1218803" rtl="0" fontAlgn="auto" hangingPunct="1">
        <a:lnSpc>
          <a:spcPts val="4000"/>
        </a:lnSpc>
        <a:spcBef>
          <a:spcPts val="0"/>
        </a:spcBef>
        <a:spcAft>
          <a:spcPts val="0"/>
        </a:spcAft>
        <a:buNone/>
        <a:tabLst/>
        <a:defRPr lang="en-US" sz="3999" b="0" i="0" u="none" strike="noStrike" kern="1200" cap="none" spc="0" baseline="0">
          <a:solidFill>
            <a:srgbClr val="12326E"/>
          </a:solidFill>
          <a:uFillTx/>
          <a:latin typeface="Calibri"/>
          <a:cs typeface="Arial" pitchFamily="34"/>
        </a:defRPr>
      </a:lvl1pPr>
    </p:titleStyle>
    <p:bodyStyle>
      <a:lvl1pPr marL="0" marR="0" lvl="0" indent="0" algn="l" defTabSz="1218803" rtl="0" fontAlgn="auto" hangingPunct="1">
        <a:lnSpc>
          <a:spcPts val="2400"/>
        </a:lnSpc>
        <a:spcBef>
          <a:spcPts val="0"/>
        </a:spcBef>
        <a:spcAft>
          <a:spcPts val="755"/>
        </a:spcAft>
        <a:buNone/>
        <a:tabLst/>
        <a:defRPr lang="en-AU" sz="1999" b="1" i="0" u="none" strike="noStrike" kern="1200" cap="none" spc="0" baseline="0">
          <a:solidFill>
            <a:srgbClr val="000000"/>
          </a:solidFill>
          <a:uFillTx/>
          <a:latin typeface="Calibri"/>
          <a:cs typeface="Arial" pitchFamily="34"/>
        </a:defRPr>
      </a:lvl1pPr>
      <a:lvl2pPr marL="0" marR="0" lvl="1" indent="0" algn="l" defTabSz="1218803" rtl="0" fontAlgn="auto" hangingPunct="1">
        <a:lnSpc>
          <a:spcPts val="2265"/>
        </a:lnSpc>
        <a:spcBef>
          <a:spcPts val="0"/>
        </a:spcBef>
        <a:spcAft>
          <a:spcPts val="755"/>
        </a:spcAft>
        <a:buNone/>
        <a:tabLst/>
        <a:defRPr lang="en-AU" sz="1999" b="0" i="0" u="none" strike="noStrike" kern="1200" cap="none" spc="0" baseline="0">
          <a:solidFill>
            <a:srgbClr val="000000"/>
          </a:solidFill>
          <a:uFillTx/>
          <a:latin typeface="Calibri Light"/>
          <a:cs typeface="Arial" pitchFamily="34"/>
        </a:defRPr>
      </a:lvl2pPr>
      <a:lvl3pPr marL="0" marR="0" lvl="2" indent="-335886" algn="l" defTabSz="1218803" rtl="0" fontAlgn="auto" hangingPunct="1">
        <a:lnSpc>
          <a:spcPts val="2265"/>
        </a:lnSpc>
        <a:spcBef>
          <a:spcPts val="0"/>
        </a:spcBef>
        <a:spcAft>
          <a:spcPts val="755"/>
        </a:spcAft>
        <a:buSzPct val="80000"/>
        <a:buFont typeface="Symbol" pitchFamily="18"/>
        <a:buChar char=""/>
        <a:tabLst/>
        <a:defRPr lang="en-AU" sz="1999" b="0" i="0" u="none" strike="noStrike" kern="1200" cap="none" spc="0" baseline="0">
          <a:solidFill>
            <a:srgbClr val="000000"/>
          </a:solidFill>
          <a:uFillTx/>
          <a:latin typeface="Calibri Light"/>
          <a:cs typeface="Arial" pitchFamily="34"/>
        </a:defRPr>
      </a:lvl3pPr>
      <a:lvl4pPr marL="671782" marR="0" lvl="3" indent="-335886" algn="l" defTabSz="1218803" rtl="0" fontAlgn="auto" hangingPunct="1">
        <a:lnSpc>
          <a:spcPts val="2265"/>
        </a:lnSpc>
        <a:spcBef>
          <a:spcPts val="0"/>
        </a:spcBef>
        <a:spcAft>
          <a:spcPts val="755"/>
        </a:spcAft>
        <a:buSzPct val="80000"/>
        <a:buFont typeface="Symbol" pitchFamily="18"/>
        <a:buChar char="·"/>
        <a:tabLst/>
        <a:defRPr lang="en-AU" sz="1999" b="0" i="0" u="none" strike="noStrike" kern="1200" cap="none" spc="0" baseline="0">
          <a:solidFill>
            <a:srgbClr val="000000"/>
          </a:solidFill>
          <a:uFillTx/>
          <a:latin typeface="Calibri Light"/>
          <a:cs typeface="Arial" pitchFamily="34"/>
        </a:defRPr>
      </a:lvl4pPr>
      <a:lvl5pPr marL="1007668" marR="0" lvl="4" indent="-335886" algn="l" defTabSz="1218803" rtl="0" fontAlgn="auto" hangingPunct="1">
        <a:lnSpc>
          <a:spcPts val="2265"/>
        </a:lnSpc>
        <a:spcBef>
          <a:spcPts val="0"/>
        </a:spcBef>
        <a:spcAft>
          <a:spcPts val="755"/>
        </a:spcAft>
        <a:buSzPct val="80000"/>
        <a:buFont typeface="Symbol" pitchFamily="18"/>
        <a:buChar char="·"/>
        <a:tabLst/>
        <a:defRPr lang="en-AU" sz="1999" b="0" i="0" u="none" strike="noStrike" kern="1200" cap="none" spc="0" baseline="0">
          <a:solidFill>
            <a:srgbClr val="000000"/>
          </a:solidFill>
          <a:uFillTx/>
          <a:latin typeface="Calibri Light"/>
          <a:cs typeface="Arial" pitchFamily="34"/>
        </a:defRPr>
      </a:lvl5pPr>
      <a:lvl6pPr marL="1343564" marR="0" lvl="5" indent="-335886" algn="l" defTabSz="1218803" rtl="0" fontAlgn="auto" hangingPunct="1">
        <a:lnSpc>
          <a:spcPts val="2265"/>
        </a:lnSpc>
        <a:spcBef>
          <a:spcPts val="0"/>
        </a:spcBef>
        <a:spcAft>
          <a:spcPts val="755"/>
        </a:spcAft>
        <a:buSzPct val="80000"/>
        <a:buFont typeface="Symbol" pitchFamily="18"/>
        <a:buChar char="·"/>
        <a:tabLst/>
        <a:defRPr lang="en-AU" sz="1999" b="0" i="0" u="none" strike="noStrike" kern="1200" cap="none" spc="0" baseline="0">
          <a:solidFill>
            <a:srgbClr val="000000"/>
          </a:solidFill>
          <a:uFillTx/>
          <a:latin typeface="Calibri Light"/>
          <a:cs typeface="Arial" pitchFamily="34"/>
        </a:defRPr>
      </a:lvl6pPr>
      <a:lvl7pPr marL="1679451" marR="0" lvl="6" indent="-335886" algn="l" defTabSz="1218803" rtl="0" fontAlgn="auto" hangingPunct="1">
        <a:lnSpc>
          <a:spcPts val="2265"/>
        </a:lnSpc>
        <a:spcBef>
          <a:spcPts val="0"/>
        </a:spcBef>
        <a:spcAft>
          <a:spcPts val="755"/>
        </a:spcAft>
        <a:buSzPct val="80000"/>
        <a:buFont typeface="Symbol" pitchFamily="18"/>
        <a:buChar char="·"/>
        <a:tabLst/>
        <a:defRPr lang="en-AU" sz="1999" b="0" i="0" u="none" strike="noStrike" kern="1200" cap="none" spc="0" baseline="0">
          <a:solidFill>
            <a:srgbClr val="000000"/>
          </a:solidFill>
          <a:uFillTx/>
          <a:latin typeface="Calibri Light"/>
          <a:cs typeface="Arial" pitchFamily="34"/>
        </a:defRPr>
      </a:lvl7pPr>
      <a:lvl8pPr marL="2015346" marR="0" lvl="7" indent="-335886" algn="l" defTabSz="1218803" rtl="0" fontAlgn="auto" hangingPunct="1">
        <a:lnSpc>
          <a:spcPts val="2265"/>
        </a:lnSpc>
        <a:spcBef>
          <a:spcPts val="0"/>
        </a:spcBef>
        <a:spcAft>
          <a:spcPts val="755"/>
        </a:spcAft>
        <a:buSzPct val="80000"/>
        <a:buFont typeface="Symbol" pitchFamily="18"/>
        <a:buChar char="·"/>
        <a:tabLst/>
        <a:defRPr lang="en-AU" sz="1999" b="0" i="0" u="none" strike="noStrike" kern="1200" cap="none" spc="0" baseline="0">
          <a:solidFill>
            <a:srgbClr val="000000"/>
          </a:solidFill>
          <a:uFillTx/>
          <a:latin typeface="Calibri Light"/>
          <a:cs typeface="Arial" pitchFamily="34"/>
        </a:defRPr>
      </a:lvl8pPr>
      <a:lvl9pPr marL="2351233" marR="0" lvl="8" indent="-335886" algn="l" defTabSz="1218803" rtl="0" fontAlgn="auto" hangingPunct="1">
        <a:lnSpc>
          <a:spcPts val="2265"/>
        </a:lnSpc>
        <a:spcBef>
          <a:spcPts val="0"/>
        </a:spcBef>
        <a:spcAft>
          <a:spcPts val="755"/>
        </a:spcAft>
        <a:buSzPct val="80000"/>
        <a:buFont typeface="Symbol" pitchFamily="18"/>
        <a:buChar char="·"/>
        <a:tabLst/>
        <a:defRPr lang="en-AU" sz="1999" b="0" i="0" u="none" strike="noStrike" kern="1200" cap="none" spc="0" baseline="0">
          <a:solidFill>
            <a:srgbClr val="000000"/>
          </a:solidFill>
          <a:uFillTx/>
          <a:latin typeface="Calibri Light"/>
          <a:cs typeface="Arial" pitchFamily="34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24281F2-9325-4EC8-B373-76A07A10F1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8092764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24281F2-9325-4EC8-B373-76A07A10F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1E43821-8BED-49D9-840E-7859D26732A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999" b="0" i="0" baseline="0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 descr="A drawing of a person&#10;&#10;Description automatically generated">
            <a:extLst>
              <a:ext uri="{FF2B5EF4-FFF2-40B4-BE49-F238E27FC236}">
                <a16:creationId xmlns:a16="http://schemas.microsoft.com/office/drawing/2014/main" id="{13ED9350-7A18-4559-9F38-9678E526E9C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086087" y="520377"/>
            <a:ext cx="1617859" cy="38428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E59A04E-75F1-45D1-BC44-7BCF24875C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421" r="2601" b="41067"/>
          <a:stretch/>
        </p:blipFill>
        <p:spPr>
          <a:xfrm>
            <a:off x="1" y="6139151"/>
            <a:ext cx="12225076" cy="71900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2052" y="422461"/>
            <a:ext cx="9486139" cy="4564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  <a:endParaRPr lang="en-AU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0320" y="1481044"/>
            <a:ext cx="11285784" cy="4466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4205" y="6353382"/>
            <a:ext cx="223519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099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0200FA-54D1-46FF-AC9C-8127824A4C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7724" y="6353382"/>
            <a:ext cx="5838251" cy="216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99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</p:spTree>
    <p:extLst>
      <p:ext uri="{BB962C8B-B14F-4D97-AF65-F5344CB8AC3E}">
        <p14:creationId xmlns:p14="http://schemas.microsoft.com/office/powerpoint/2010/main" val="3329768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</p:sldLayoutIdLst>
  <p:hf hdr="0"/>
  <p:txStyles>
    <p:titleStyle>
      <a:lvl1pPr algn="l" defTabSz="914126" rtl="0" eaLnBrk="1" latinLnBrk="0" hangingPunct="1">
        <a:lnSpc>
          <a:spcPts val="2999"/>
        </a:lnSpc>
        <a:spcBef>
          <a:spcPct val="0"/>
        </a:spcBef>
        <a:buNone/>
        <a:defRPr sz="2999" b="0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0" indent="0" algn="l" defTabSz="914126" rtl="0" eaLnBrk="1" latinLnBrk="0" hangingPunct="1">
        <a:lnSpc>
          <a:spcPts val="1799"/>
        </a:lnSpc>
        <a:spcBef>
          <a:spcPts val="0"/>
        </a:spcBef>
        <a:spcAft>
          <a:spcPts val="567"/>
        </a:spcAft>
        <a:buFont typeface="Arial" pitchFamily="34" charset="0"/>
        <a:buNone/>
        <a:defRPr sz="1499" b="1" kern="1200" baseline="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0" indent="0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100000"/>
        <a:buFontTx/>
        <a:buNone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0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"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03849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755773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499" kern="12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007697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1259622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1511547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1763471" indent="-251924" algn="l" defTabSz="914126" rtl="0" eaLnBrk="1" latinLnBrk="0" hangingPunct="1">
        <a:lnSpc>
          <a:spcPts val="1699"/>
        </a:lnSpc>
        <a:spcBef>
          <a:spcPts val="0"/>
        </a:spcBef>
        <a:spcAft>
          <a:spcPts val="567"/>
        </a:spcAft>
        <a:buClrTx/>
        <a:buSzPct val="80000"/>
        <a:buFont typeface="Symbol" panose="05050102010706020507" pitchFamily="18" charset="2"/>
        <a:buChar char="·"/>
        <a:defRPr sz="1499" kern="120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8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2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5563">
          <p15:clr>
            <a:srgbClr val="F26B43"/>
          </p15:clr>
        </p15:guide>
        <p15:guide id="3" orient="horz" pos="430">
          <p15:clr>
            <a:srgbClr val="F26B43"/>
          </p15:clr>
        </p15:guide>
        <p15:guide id="4" orient="horz" pos="2811">
          <p15:clr>
            <a:srgbClr val="F26B43"/>
          </p15:clr>
        </p15:guide>
        <p15:guide id="5" pos="216">
          <p15:clr>
            <a:srgbClr val="F26B43"/>
          </p15:clr>
        </p15:guide>
        <p15:guide id="6" orient="horz" pos="69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oleObject" Target="../embeddings/oleObject7.bin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oleObject" Target="../embeddings/oleObject8.bin"/><Relationship Id="rId7" Type="http://schemas.openxmlformats.org/officeDocument/2006/relationships/image" Target="../media/image24.jp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3.xml"/><Relationship Id="rId6" Type="http://schemas.openxmlformats.org/officeDocument/2006/relationships/image" Target="../media/image23.jpg"/><Relationship Id="rId5" Type="http://schemas.openxmlformats.org/officeDocument/2006/relationships/image" Target="../media/image22.jpg"/><Relationship Id="rId4" Type="http://schemas.openxmlformats.org/officeDocument/2006/relationships/image" Target="../media/image4.emf"/><Relationship Id="rId9" Type="http://schemas.openxmlformats.org/officeDocument/2006/relationships/image" Target="../media/image2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image" Target="../media/image27.jpg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94.xml"/><Relationship Id="rId6" Type="http://schemas.openxmlformats.org/officeDocument/2006/relationships/image" Target="../media/image30.jpg"/><Relationship Id="rId5" Type="http://schemas.openxmlformats.org/officeDocument/2006/relationships/image" Target="../media/image29.jpg"/><Relationship Id="rId4" Type="http://schemas.openxmlformats.org/officeDocument/2006/relationships/image" Target="../media/image2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33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>
            <a:extLst>
              <a:ext uri="{FF2B5EF4-FFF2-40B4-BE49-F238E27FC236}">
                <a16:creationId xmlns:a16="http://schemas.microsoft.com/office/drawing/2014/main" id="{EB42FAAF-800A-41FD-8F50-18EDD5A065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1740159"/>
              </p:ext>
            </p:extLst>
          </p:nvPr>
        </p:nvGraphicFramePr>
        <p:xfrm>
          <a:off x="1591" y="1591"/>
          <a:ext cx="1591" cy="15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12700" imgH="12700" progId="TCLayout.ActiveDocument.1">
                  <p:embed/>
                </p:oleObj>
              </mc:Choice>
              <mc:Fallback>
                <p:oleObj name="think-cell Slide" r:id="rId2" imgW="12700" imgH="12700" progId="TCLayout.ActiveDocument.1">
                  <p:embed/>
                  <p:pic>
                    <p:nvPicPr>
                      <p:cNvPr id="2" name="Object 7" hidden="1">
                        <a:extLst>
                          <a:ext uri="{FF2B5EF4-FFF2-40B4-BE49-F238E27FC236}">
                            <a16:creationId xmlns:a16="http://schemas.microsoft.com/office/drawing/2014/main" id="{EB42FAAF-800A-41FD-8F50-18EDD5A065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91" cy="1591"/>
                      </a:xfrm>
                      <a:prstGeom prst="rect">
                        <a:avLst/>
                      </a:prstGeom>
                      <a:noFill/>
                      <a:ln cap="flat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4" hidden="1">
            <a:extLst>
              <a:ext uri="{FF2B5EF4-FFF2-40B4-BE49-F238E27FC236}">
                <a16:creationId xmlns:a16="http://schemas.microsoft.com/office/drawing/2014/main" id="{45DB4B93-7BFB-41C0-A558-FD0AC039C9B4}"/>
              </a:ext>
            </a:extLst>
          </p:cNvPr>
          <p:cNvSpPr/>
          <p:nvPr/>
        </p:nvSpPr>
        <p:spPr>
          <a:xfrm>
            <a:off x="0" y="0"/>
            <a:ext cx="158748" cy="158748"/>
          </a:xfrm>
          <a:prstGeom prst="rect">
            <a:avLst/>
          </a:prstGeom>
          <a:solidFill>
            <a:srgbClr val="E6E6E6"/>
          </a:solidFill>
          <a:ln cap="flat">
            <a:noFill/>
            <a:prstDash val="solid"/>
          </a:ln>
        </p:spPr>
        <p:txBody>
          <a:bodyPr vert="horz" wrap="none" lIns="0" tIns="0" rIns="0" bIns="0" anchor="ctr" anchorCtr="1" compatLnSpc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586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kumimoji="0" lang="ro-RO" sz="4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itchFamily="34"/>
              <a:ea typeface="+mn-ea"/>
              <a:cs typeface="Calibri Light" pitchFamily="34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004E90B-D835-4F12-8960-DCC0F2F49EA1}"/>
              </a:ext>
            </a:extLst>
          </p:cNvPr>
          <p:cNvSpPr txBox="1"/>
          <p:nvPr/>
        </p:nvSpPr>
        <p:spPr>
          <a:xfrm>
            <a:off x="0" y="6353178"/>
            <a:ext cx="223835" cy="2158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ctr" anchorCtr="0" compatLnSpc="1">
            <a:noAutofit/>
          </a:bodyPr>
          <a:lstStyle/>
          <a:p>
            <a:pPr marL="0" marR="0" lvl="0" indent="0" algn="l" defTabSz="12188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CCD087A-4B66-4E42-AF8A-03396F8F47CE}" type="slidenum">
              <a: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12188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</a:t>
            </a:fld>
            <a:endParaRPr kumimoji="0" lang="en-AU" sz="1466" b="1" i="0" u="none" strike="noStrike" kern="1200" cap="none" spc="0" normalizeH="0" baseline="0" noProof="0">
              <a:ln>
                <a:noFill/>
              </a:ln>
              <a:solidFill>
                <a:srgbClr val="12326E"/>
              </a:solidFill>
              <a:effectLst/>
              <a:uLnTx/>
              <a:uFillTx/>
              <a:latin typeface="Calibri Light"/>
              <a:ea typeface="MS PGothic" pitchFamily="34"/>
              <a:cs typeface="Arial" pitchFamily="34"/>
            </a:endParaRP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C320DD98-B7BA-4741-A8AA-80A8415D31D6}"/>
              </a:ext>
            </a:extLst>
          </p:cNvPr>
          <p:cNvSpPr txBox="1"/>
          <p:nvPr/>
        </p:nvSpPr>
        <p:spPr>
          <a:xfrm>
            <a:off x="5943600" y="5334000"/>
            <a:ext cx="7165785" cy="91440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noAutofit/>
          </a:bodyPr>
          <a:lstStyle/>
          <a:p>
            <a:pPr marL="0" marR="0" lvl="0" indent="0" algn="ctr" defTabSz="12188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en-US" sz="40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MS PGothic" pitchFamily="34"/>
                <a:cs typeface="+mn-cs"/>
              </a:rPr>
              <a:t>Liberty Galati</a:t>
            </a:r>
            <a:endParaRPr kumimoji="0" lang="en-AU" sz="40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MS PGothic" pitchFamily="34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132CE6D-03BA-4278-A65D-14A7C905234D}"/>
              </a:ext>
            </a:extLst>
          </p:cNvPr>
          <p:cNvSpPr txBox="1"/>
          <p:nvPr/>
        </p:nvSpPr>
        <p:spPr>
          <a:xfrm>
            <a:off x="223835" y="2767280"/>
            <a:ext cx="1166336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kumimoji="0" lang="en-US" sz="4400" b="1" i="0" u="none" strike="noStrike" kern="1200" cap="all" spc="0" normalizeH="0" baseline="0" noProof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power transformers in SC3-SRA17 and SRA12</a:t>
            </a:r>
          </a:p>
          <a:p>
            <a:pPr algn="ctr"/>
            <a:r>
              <a:rPr kumimoji="0" lang="en-US" sz="3600" b="1" i="0" u="none" strike="noStrike" kern="1200" cap="all" spc="0" normalizeH="0" baseline="0" noProof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Technical data and location dimensio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5667BF-C804-45BC-8166-737378159CC5}"/>
              </a:ext>
            </a:extLst>
          </p:cNvPr>
          <p:cNvSpPr txBox="1"/>
          <p:nvPr/>
        </p:nvSpPr>
        <p:spPr>
          <a:xfrm>
            <a:off x="1905000" y="5791200"/>
            <a:ext cx="292637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sz="3200" i="1" dirty="0">
                <a:solidFill>
                  <a:srgbClr val="FFFFFF"/>
                </a:solidFill>
                <a:ea typeface="MS PGothic"/>
                <a:cs typeface="Arial" charset="0"/>
              </a:rPr>
              <a:t>26 January 2023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7B1BB40-BA1D-470D-BDAF-B84CAC9D09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615817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7B1BB40-BA1D-470D-BDAF-B84CAC9D09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AC62489-7CB4-431F-8786-EBD92A9B6C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515787" y="6334045"/>
            <a:ext cx="2256456" cy="36395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99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40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/>
              <a:t>Business unit</a:t>
            </a:r>
            <a:endParaRPr lang="en-AU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089D2840-818E-44DC-94E1-A36CB3B9EB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736" y="65949"/>
            <a:ext cx="634644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rPr>
              <a:t>SC3 – SRA17 – Power transformers 1/3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897CB85-1064-4381-BB7D-A4EF2C9AF996}"/>
              </a:ext>
            </a:extLst>
          </p:cNvPr>
          <p:cNvCxnSpPr/>
          <p:nvPr/>
        </p:nvCxnSpPr>
        <p:spPr>
          <a:xfrm>
            <a:off x="6400800" y="1007175"/>
            <a:ext cx="0" cy="5071380"/>
          </a:xfrm>
          <a:prstGeom prst="line">
            <a:avLst/>
          </a:prstGeom>
          <a:ln w="222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A building that has been destroyed&#10;&#10;Description automatically generated with medium confidence">
            <a:extLst>
              <a:ext uri="{FF2B5EF4-FFF2-40B4-BE49-F238E27FC236}">
                <a16:creationId xmlns:a16="http://schemas.microsoft.com/office/drawing/2014/main" id="{98205B2D-9FAA-1396-B909-C4B98D3831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574" y="426003"/>
            <a:ext cx="4550223" cy="3071401"/>
          </a:xfrm>
          <a:prstGeom prst="rect">
            <a:avLst/>
          </a:prstGeom>
        </p:spPr>
      </p:pic>
      <p:pic>
        <p:nvPicPr>
          <p:cNvPr id="5" name="Picture 4" descr="A picture containing grass, building, outdoor, old&#10;&#10;Description automatically generated">
            <a:extLst>
              <a:ext uri="{FF2B5EF4-FFF2-40B4-BE49-F238E27FC236}">
                <a16:creationId xmlns:a16="http://schemas.microsoft.com/office/drawing/2014/main" id="{ECE01E21-16ED-AA9C-8A93-9AFAC0046C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8917" y="1743520"/>
            <a:ext cx="5506596" cy="3716952"/>
          </a:xfrm>
          <a:prstGeom prst="rect">
            <a:avLst/>
          </a:prstGeom>
        </p:spPr>
      </p:pic>
      <p:pic>
        <p:nvPicPr>
          <p:cNvPr id="10" name="Picture 9" descr="A picture containing outdoor, sky, old&#10;&#10;Description automatically generated">
            <a:extLst>
              <a:ext uri="{FF2B5EF4-FFF2-40B4-BE49-F238E27FC236}">
                <a16:creationId xmlns:a16="http://schemas.microsoft.com/office/drawing/2014/main" id="{AF9272C7-48B6-6A9D-12FE-BE2FDEA4DB9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46" r="10294"/>
          <a:stretch/>
        </p:blipFill>
        <p:spPr>
          <a:xfrm>
            <a:off x="3597276" y="4335416"/>
            <a:ext cx="2308516" cy="2180606"/>
          </a:xfrm>
          <a:prstGeom prst="rect">
            <a:avLst/>
          </a:prstGeom>
        </p:spPr>
      </p:pic>
      <p:pic>
        <p:nvPicPr>
          <p:cNvPr id="15" name="Picture 14" descr="A picture containing ground, outdoor, old, dirty&#10;&#10;Description automatically generated">
            <a:extLst>
              <a:ext uri="{FF2B5EF4-FFF2-40B4-BE49-F238E27FC236}">
                <a16:creationId xmlns:a16="http://schemas.microsoft.com/office/drawing/2014/main" id="{148A8291-F9DD-8DA7-4952-7F0D2A42477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19" y="5208062"/>
            <a:ext cx="2073913" cy="1555435"/>
          </a:xfrm>
          <a:prstGeom prst="rect">
            <a:avLst/>
          </a:prstGeom>
        </p:spPr>
      </p:pic>
      <p:pic>
        <p:nvPicPr>
          <p:cNvPr id="12" name="Picture 11" descr="A picture containing ground, outdoor, old, dirty&#10;&#10;Description automatically generated">
            <a:extLst>
              <a:ext uri="{FF2B5EF4-FFF2-40B4-BE49-F238E27FC236}">
                <a16:creationId xmlns:a16="http://schemas.microsoft.com/office/drawing/2014/main" id="{B68223BD-0C2C-7FB4-B70E-DF064E74BCB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4215" y="3902476"/>
            <a:ext cx="2073913" cy="155543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D69E340-7AD3-C4EF-E9C7-DD0B0FFBC24E}"/>
              </a:ext>
            </a:extLst>
          </p:cNvPr>
          <p:cNvSpPr/>
          <p:nvPr/>
        </p:nvSpPr>
        <p:spPr>
          <a:xfrm>
            <a:off x="7886385" y="869947"/>
            <a:ext cx="2463110" cy="95410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TR1 – 40MVA</a:t>
            </a:r>
          </a:p>
          <a:p>
            <a:pPr algn="ctr"/>
            <a:r>
              <a:rPr lang="en-US" sz="24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110kV/6kV</a:t>
            </a:r>
            <a:endParaRPr lang="en-US" sz="24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9F3D7C4-8F91-385D-4680-1EE06428A1D2}"/>
              </a:ext>
            </a:extLst>
          </p:cNvPr>
          <p:cNvSpPr/>
          <p:nvPr/>
        </p:nvSpPr>
        <p:spPr>
          <a:xfrm>
            <a:off x="1298041" y="777848"/>
            <a:ext cx="1436724" cy="43088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 TR1</a:t>
            </a:r>
          </a:p>
          <a:p>
            <a:pPr algn="ctr"/>
            <a:r>
              <a:rPr lang="en-US" sz="1100" b="1" spc="300" dirty="0">
                <a:ln w="22225">
                  <a:solidFill>
                    <a:schemeClr val="accent2"/>
                  </a:solidFill>
                  <a:prstDash val="solid"/>
                </a:ln>
                <a:highlight>
                  <a:srgbClr val="FFFF00"/>
                </a:highlight>
              </a:rPr>
              <a:t> </a:t>
            </a:r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40MV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19D83E-641A-B4C7-9432-AE0C66F0B03F}"/>
              </a:ext>
            </a:extLst>
          </p:cNvPr>
          <p:cNvSpPr/>
          <p:nvPr/>
        </p:nvSpPr>
        <p:spPr>
          <a:xfrm>
            <a:off x="2902979" y="1079204"/>
            <a:ext cx="1436724" cy="43088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 TR2</a:t>
            </a:r>
          </a:p>
          <a:p>
            <a:pPr algn="ctr"/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 40MV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7C512FA-CC9D-AB89-889B-A75D20B51FC6}"/>
              </a:ext>
            </a:extLst>
          </p:cNvPr>
          <p:cNvSpPr/>
          <p:nvPr/>
        </p:nvSpPr>
        <p:spPr>
          <a:xfrm>
            <a:off x="3964612" y="1208735"/>
            <a:ext cx="1436724" cy="43088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 TR3</a:t>
            </a:r>
          </a:p>
          <a:p>
            <a:pPr algn="ctr"/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 40MVA</a:t>
            </a:r>
          </a:p>
        </p:txBody>
      </p:sp>
      <p:sp>
        <p:nvSpPr>
          <p:cNvPr id="21" name="Arrow: Up-Down 20">
            <a:extLst>
              <a:ext uri="{FF2B5EF4-FFF2-40B4-BE49-F238E27FC236}">
                <a16:creationId xmlns:a16="http://schemas.microsoft.com/office/drawing/2014/main" id="{7CE957E8-68E1-00DE-8B28-8C9241C7F520}"/>
              </a:ext>
            </a:extLst>
          </p:cNvPr>
          <p:cNvSpPr/>
          <p:nvPr/>
        </p:nvSpPr>
        <p:spPr>
          <a:xfrm rot="5400000">
            <a:off x="9163301" y="2308262"/>
            <a:ext cx="136282" cy="4445270"/>
          </a:xfrm>
          <a:prstGeom prst="up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5634D96-AA89-56C0-4313-024131E7B69D}"/>
              </a:ext>
            </a:extLst>
          </p:cNvPr>
          <p:cNvSpPr/>
          <p:nvPr/>
        </p:nvSpPr>
        <p:spPr>
          <a:xfrm>
            <a:off x="8419201" y="4024519"/>
            <a:ext cx="1443024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l</a:t>
            </a:r>
            <a:r>
              <a:rPr lang="en-US" sz="32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=9.1 m</a:t>
            </a:r>
          </a:p>
        </p:txBody>
      </p:sp>
      <p:sp>
        <p:nvSpPr>
          <p:cNvPr id="23" name="Arrow: Up-Down 22">
            <a:extLst>
              <a:ext uri="{FF2B5EF4-FFF2-40B4-BE49-F238E27FC236}">
                <a16:creationId xmlns:a16="http://schemas.microsoft.com/office/drawing/2014/main" id="{95C64F27-A527-0B46-6A23-121D1FD59DD8}"/>
              </a:ext>
            </a:extLst>
          </p:cNvPr>
          <p:cNvSpPr/>
          <p:nvPr/>
        </p:nvSpPr>
        <p:spPr>
          <a:xfrm rot="4003067">
            <a:off x="7279581" y="3472257"/>
            <a:ext cx="203853" cy="1011550"/>
          </a:xfrm>
          <a:prstGeom prst="up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FBD2E23-FC83-376F-30CD-EED9F39126A4}"/>
              </a:ext>
            </a:extLst>
          </p:cNvPr>
          <p:cNvSpPr/>
          <p:nvPr/>
        </p:nvSpPr>
        <p:spPr>
          <a:xfrm rot="20266055">
            <a:off x="6651948" y="3343016"/>
            <a:ext cx="140615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L=10</a:t>
            </a:r>
            <a:r>
              <a:rPr lang="en-US" sz="32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m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A43C0DC-6A02-6D45-2073-73CD15300B39}"/>
              </a:ext>
            </a:extLst>
          </p:cNvPr>
          <p:cNvSpPr/>
          <p:nvPr/>
        </p:nvSpPr>
        <p:spPr>
          <a:xfrm>
            <a:off x="1179176" y="1182920"/>
            <a:ext cx="1644882" cy="1484079"/>
          </a:xfrm>
          <a:prstGeom prst="ellipse">
            <a:avLst/>
          </a:prstGeom>
          <a:solidFill>
            <a:schemeClr val="bg1">
              <a:alpha val="0"/>
            </a:schemeClr>
          </a:solidFill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632BA6E-3892-654A-D501-339FA365BE0B}"/>
              </a:ext>
            </a:extLst>
          </p:cNvPr>
          <p:cNvSpPr txBox="1"/>
          <p:nvPr/>
        </p:nvSpPr>
        <p:spPr>
          <a:xfrm>
            <a:off x="417453" y="3716192"/>
            <a:ext cx="2746492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transformer box foundations</a:t>
            </a:r>
            <a:endParaRPr lang="en-US" sz="1400" dirty="0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56D8C4AD-9C42-7A59-5B41-53F392E7AECB}"/>
              </a:ext>
            </a:extLst>
          </p:cNvPr>
          <p:cNvCxnSpPr/>
          <p:nvPr/>
        </p:nvCxnSpPr>
        <p:spPr>
          <a:xfrm>
            <a:off x="4419600" y="4309014"/>
            <a:ext cx="152400" cy="10249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B40300F-E595-8B28-746F-DC01CF045A00}"/>
              </a:ext>
            </a:extLst>
          </p:cNvPr>
          <p:cNvCxnSpPr>
            <a:cxnSpLocks/>
          </p:cNvCxnSpPr>
          <p:nvPr/>
        </p:nvCxnSpPr>
        <p:spPr>
          <a:xfrm>
            <a:off x="898977" y="4060159"/>
            <a:ext cx="1430798" cy="127384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906D8251-FD38-7A14-D9FF-CA0E248CD273}"/>
              </a:ext>
            </a:extLst>
          </p:cNvPr>
          <p:cNvCxnSpPr>
            <a:cxnSpLocks/>
          </p:cNvCxnSpPr>
          <p:nvPr/>
        </p:nvCxnSpPr>
        <p:spPr>
          <a:xfrm flipH="1">
            <a:off x="436043" y="4060159"/>
            <a:ext cx="462934" cy="245586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826031A5-24A7-3937-7865-A8B543C66B14}"/>
              </a:ext>
            </a:extLst>
          </p:cNvPr>
          <p:cNvSpPr txBox="1"/>
          <p:nvPr/>
        </p:nvSpPr>
        <p:spPr>
          <a:xfrm>
            <a:off x="3559183" y="3762359"/>
            <a:ext cx="2491174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Insulating transitions 110 kV, oil </a:t>
            </a:r>
            <a:r>
              <a:rPr lang="en-US" sz="1400" b="0" i="0" dirty="0" err="1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oil</a:t>
            </a:r>
            <a:r>
              <a:rPr lang="en-US" sz="1400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 type (after RK air-oil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310161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 descr="A cat in a cage&#10;&#10;Description automatically generated with low confidence">
            <a:extLst>
              <a:ext uri="{FF2B5EF4-FFF2-40B4-BE49-F238E27FC236}">
                <a16:creationId xmlns:a16="http://schemas.microsoft.com/office/drawing/2014/main" id="{9E9A1562-0248-4BFB-BDE2-C2510FF335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173" y="3839099"/>
            <a:ext cx="2167971" cy="2890628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6C9535DD-3C1E-8731-8E22-621C1A6279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193" y="4287167"/>
            <a:ext cx="2659321" cy="1994491"/>
          </a:xfrm>
          <a:prstGeom prst="rect">
            <a:avLst/>
          </a:prstGeom>
        </p:spPr>
      </p:pic>
      <p:pic>
        <p:nvPicPr>
          <p:cNvPr id="13" name="Picture 12" descr="A picture containing outdoor, building, sky, stone&#10;&#10;Description automatically generated">
            <a:extLst>
              <a:ext uri="{FF2B5EF4-FFF2-40B4-BE49-F238E27FC236}">
                <a16:creationId xmlns:a16="http://schemas.microsoft.com/office/drawing/2014/main" id="{CCB9918D-1AD0-2EE8-04F8-BD222AE95AC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81" b="19319"/>
          <a:stretch/>
        </p:blipFill>
        <p:spPr>
          <a:xfrm>
            <a:off x="6555067" y="878793"/>
            <a:ext cx="5332132" cy="5137964"/>
          </a:xfrm>
          <a:prstGeom prst="rect">
            <a:avLst/>
          </a:prstGeom>
        </p:spPr>
      </p:pic>
      <p:pic>
        <p:nvPicPr>
          <p:cNvPr id="4" name="Picture 3" descr="A picture containing building, outdoor, sky, stone&#10;&#10;Description automatically generated">
            <a:extLst>
              <a:ext uri="{FF2B5EF4-FFF2-40B4-BE49-F238E27FC236}">
                <a16:creationId xmlns:a16="http://schemas.microsoft.com/office/drawing/2014/main" id="{502013BA-94F7-2D91-D6D5-C36CC35FDC3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048"/>
          <a:stretch/>
        </p:blipFill>
        <p:spPr>
          <a:xfrm>
            <a:off x="188008" y="568110"/>
            <a:ext cx="5754111" cy="3144202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7B1BB40-BA1D-470D-BDAF-B84CAC9D09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7B1BB40-BA1D-470D-BDAF-B84CAC9D09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AC62489-7CB4-431F-8786-EBD92A9B6C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515787" y="6334045"/>
            <a:ext cx="2256456" cy="363954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99" b="1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40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/>
              <a:t>Business unit</a:t>
            </a:r>
            <a:endParaRPr lang="en-AU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897CB85-1064-4381-BB7D-A4EF2C9AF996}"/>
              </a:ext>
            </a:extLst>
          </p:cNvPr>
          <p:cNvCxnSpPr/>
          <p:nvPr/>
        </p:nvCxnSpPr>
        <p:spPr>
          <a:xfrm>
            <a:off x="6172200" y="914400"/>
            <a:ext cx="0" cy="5071380"/>
          </a:xfrm>
          <a:prstGeom prst="line">
            <a:avLst/>
          </a:prstGeom>
          <a:ln w="222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0D69E340-7AD3-C4EF-E9C7-DD0B0FFBC24E}"/>
              </a:ext>
            </a:extLst>
          </p:cNvPr>
          <p:cNvSpPr/>
          <p:nvPr/>
        </p:nvSpPr>
        <p:spPr>
          <a:xfrm>
            <a:off x="7948901" y="1483055"/>
            <a:ext cx="2463110" cy="89255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TR4 – 63MVA</a:t>
            </a:r>
          </a:p>
          <a:p>
            <a:pPr algn="ctr"/>
            <a:r>
              <a:rPr lang="en-US" sz="2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110kV/6kV</a:t>
            </a:r>
            <a:endParaRPr lang="en-US" sz="2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9F3D7C4-8F91-385D-4680-1EE06428A1D2}"/>
              </a:ext>
            </a:extLst>
          </p:cNvPr>
          <p:cNvSpPr/>
          <p:nvPr/>
        </p:nvSpPr>
        <p:spPr>
          <a:xfrm>
            <a:off x="1161928" y="1767695"/>
            <a:ext cx="1436724" cy="43088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 TR1</a:t>
            </a:r>
          </a:p>
          <a:p>
            <a:pPr algn="ctr"/>
            <a:r>
              <a:rPr lang="en-US" sz="1100" b="1" spc="300" dirty="0">
                <a:ln w="22225">
                  <a:solidFill>
                    <a:schemeClr val="accent2"/>
                  </a:solidFill>
                  <a:prstDash val="solid"/>
                </a:ln>
                <a:highlight>
                  <a:srgbClr val="FFFF00"/>
                </a:highlight>
              </a:rPr>
              <a:t> </a:t>
            </a:r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63MV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19D83E-641A-B4C7-9432-AE0C66F0B03F}"/>
              </a:ext>
            </a:extLst>
          </p:cNvPr>
          <p:cNvSpPr/>
          <p:nvPr/>
        </p:nvSpPr>
        <p:spPr>
          <a:xfrm>
            <a:off x="2814264" y="1936671"/>
            <a:ext cx="1436724" cy="43088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 TR2</a:t>
            </a:r>
          </a:p>
          <a:p>
            <a:pPr algn="ctr"/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 63MV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7C512FA-CC9D-AB89-889B-A75D20B51FC6}"/>
              </a:ext>
            </a:extLst>
          </p:cNvPr>
          <p:cNvSpPr/>
          <p:nvPr/>
        </p:nvSpPr>
        <p:spPr>
          <a:xfrm>
            <a:off x="3670606" y="2140211"/>
            <a:ext cx="1436724" cy="43088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 TR3</a:t>
            </a:r>
          </a:p>
          <a:p>
            <a:pPr algn="ctr"/>
            <a:r>
              <a:rPr lang="en-US" sz="1100" b="1" spc="300" dirty="0">
                <a:ln w="22225">
                  <a:solidFill>
                    <a:schemeClr val="accent2"/>
                  </a:solidFill>
                  <a:prstDash val="solid"/>
                </a:ln>
                <a:highlight>
                  <a:srgbClr val="FFFF00"/>
                </a:highlight>
              </a:rPr>
              <a:t>63</a:t>
            </a:r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MVA</a:t>
            </a:r>
          </a:p>
        </p:txBody>
      </p:sp>
      <p:sp>
        <p:nvSpPr>
          <p:cNvPr id="21" name="Arrow: Up-Down 20">
            <a:extLst>
              <a:ext uri="{FF2B5EF4-FFF2-40B4-BE49-F238E27FC236}">
                <a16:creationId xmlns:a16="http://schemas.microsoft.com/office/drawing/2014/main" id="{7CE957E8-68E1-00DE-8B28-8C9241C7F520}"/>
              </a:ext>
            </a:extLst>
          </p:cNvPr>
          <p:cNvSpPr/>
          <p:nvPr/>
        </p:nvSpPr>
        <p:spPr>
          <a:xfrm rot="5400000">
            <a:off x="9054831" y="2039476"/>
            <a:ext cx="217448" cy="2934710"/>
          </a:xfrm>
          <a:prstGeom prst="up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5634D96-AA89-56C0-4313-024131E7B69D}"/>
              </a:ext>
            </a:extLst>
          </p:cNvPr>
          <p:cNvSpPr/>
          <p:nvPr/>
        </p:nvSpPr>
        <p:spPr>
          <a:xfrm>
            <a:off x="8598746" y="2901434"/>
            <a:ext cx="102784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2 m</a:t>
            </a:r>
          </a:p>
        </p:txBody>
      </p:sp>
      <p:sp>
        <p:nvSpPr>
          <p:cNvPr id="23" name="Arrow: Up-Down 22">
            <a:extLst>
              <a:ext uri="{FF2B5EF4-FFF2-40B4-BE49-F238E27FC236}">
                <a16:creationId xmlns:a16="http://schemas.microsoft.com/office/drawing/2014/main" id="{95C64F27-A527-0B46-6A23-121D1FD59DD8}"/>
              </a:ext>
            </a:extLst>
          </p:cNvPr>
          <p:cNvSpPr/>
          <p:nvPr/>
        </p:nvSpPr>
        <p:spPr>
          <a:xfrm>
            <a:off x="8386933" y="3940644"/>
            <a:ext cx="147467" cy="1734436"/>
          </a:xfrm>
          <a:prstGeom prst="up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FBD2E23-FC83-376F-30CD-EED9F39126A4}"/>
              </a:ext>
            </a:extLst>
          </p:cNvPr>
          <p:cNvSpPr/>
          <p:nvPr/>
        </p:nvSpPr>
        <p:spPr>
          <a:xfrm rot="16200000">
            <a:off x="7606921" y="4393570"/>
            <a:ext cx="113685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6.2</a:t>
            </a:r>
            <a:r>
              <a:rPr lang="en-US" sz="32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m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A43C0DC-6A02-6D45-2073-73CD15300B39}"/>
              </a:ext>
            </a:extLst>
          </p:cNvPr>
          <p:cNvSpPr/>
          <p:nvPr/>
        </p:nvSpPr>
        <p:spPr>
          <a:xfrm>
            <a:off x="4876799" y="2076629"/>
            <a:ext cx="524537" cy="1494072"/>
          </a:xfrm>
          <a:prstGeom prst="ellipse">
            <a:avLst/>
          </a:prstGeom>
          <a:solidFill>
            <a:schemeClr val="bg1">
              <a:alpha val="0"/>
            </a:schemeClr>
          </a:solidFill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B40300F-E595-8B28-746F-DC01CF045A00}"/>
              </a:ext>
            </a:extLst>
          </p:cNvPr>
          <p:cNvCxnSpPr>
            <a:cxnSpLocks/>
          </p:cNvCxnSpPr>
          <p:nvPr/>
        </p:nvCxnSpPr>
        <p:spPr>
          <a:xfrm>
            <a:off x="2831412" y="3985668"/>
            <a:ext cx="1293533" cy="234837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906D8251-FD38-7A14-D9FF-CA0E248CD273}"/>
              </a:ext>
            </a:extLst>
          </p:cNvPr>
          <p:cNvCxnSpPr>
            <a:cxnSpLocks/>
          </p:cNvCxnSpPr>
          <p:nvPr/>
        </p:nvCxnSpPr>
        <p:spPr>
          <a:xfrm>
            <a:off x="898977" y="4060159"/>
            <a:ext cx="196841" cy="195659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C9E28632-D268-54F5-4645-EB5104D2D9A6}"/>
              </a:ext>
            </a:extLst>
          </p:cNvPr>
          <p:cNvSpPr/>
          <p:nvPr/>
        </p:nvSpPr>
        <p:spPr>
          <a:xfrm>
            <a:off x="4555390" y="2152114"/>
            <a:ext cx="1436724" cy="43088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 TR4</a:t>
            </a:r>
          </a:p>
          <a:p>
            <a:pPr algn="ctr"/>
            <a:r>
              <a:rPr lang="en-US" sz="1100" b="1" cap="none" spc="300" dirty="0">
                <a:ln w="22225">
                  <a:solidFill>
                    <a:schemeClr val="accent2"/>
                  </a:solidFill>
                  <a:prstDash val="solid"/>
                </a:ln>
                <a:effectLst/>
                <a:highlight>
                  <a:srgbClr val="FFFF00"/>
                </a:highlight>
              </a:rPr>
              <a:t> 63MVA</a:t>
            </a:r>
          </a:p>
        </p:txBody>
      </p:sp>
      <p:sp>
        <p:nvSpPr>
          <p:cNvPr id="18" name="Arrow: Up-Down 17">
            <a:extLst>
              <a:ext uri="{FF2B5EF4-FFF2-40B4-BE49-F238E27FC236}">
                <a16:creationId xmlns:a16="http://schemas.microsoft.com/office/drawing/2014/main" id="{303AAE7B-7129-F19D-9000-C92D435C83BF}"/>
              </a:ext>
            </a:extLst>
          </p:cNvPr>
          <p:cNvSpPr/>
          <p:nvPr/>
        </p:nvSpPr>
        <p:spPr>
          <a:xfrm rot="5223147">
            <a:off x="9271784" y="4537971"/>
            <a:ext cx="137088" cy="2340254"/>
          </a:xfrm>
          <a:prstGeom prst="up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322E63E-D349-479B-6822-9C436DBE565C}"/>
              </a:ext>
            </a:extLst>
          </p:cNvPr>
          <p:cNvSpPr/>
          <p:nvPr/>
        </p:nvSpPr>
        <p:spPr>
          <a:xfrm rot="21400045">
            <a:off x="8979793" y="5131690"/>
            <a:ext cx="819455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2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8 m</a:t>
            </a:r>
          </a:p>
        </p:txBody>
      </p:sp>
      <p:sp>
        <p:nvSpPr>
          <p:cNvPr id="42" name="Rectangle 5">
            <a:extLst>
              <a:ext uri="{FF2B5EF4-FFF2-40B4-BE49-F238E27FC236}">
                <a16:creationId xmlns:a16="http://schemas.microsoft.com/office/drawing/2014/main" id="{54B8BE09-3286-09CA-58C7-6C97573794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736" y="65949"/>
            <a:ext cx="634644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rPr>
              <a:t>SRA12 – Power transformers 1/3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F4F78668-9A63-C74F-83A9-EAD9814AD477}"/>
              </a:ext>
            </a:extLst>
          </p:cNvPr>
          <p:cNvSpPr txBox="1"/>
          <p:nvPr/>
        </p:nvSpPr>
        <p:spPr>
          <a:xfrm>
            <a:off x="417453" y="3716192"/>
            <a:ext cx="2746492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transformer box foundation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6307328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rack, dirty&#10;&#10;Description automatically generated">
            <a:extLst>
              <a:ext uri="{FF2B5EF4-FFF2-40B4-BE49-F238E27FC236}">
                <a16:creationId xmlns:a16="http://schemas.microsoft.com/office/drawing/2014/main" id="{B8DD4204-165C-3983-27AF-27E99C770C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023" y="3733800"/>
            <a:ext cx="4402665" cy="2971799"/>
          </a:xfrm>
          <a:prstGeom prst="rect">
            <a:avLst/>
          </a:prstGeom>
        </p:spPr>
      </p:pic>
      <p:pic>
        <p:nvPicPr>
          <p:cNvPr id="8" name="Picture 7" descr="A picture containing indoor, old&#10;&#10;Description automatically generated">
            <a:extLst>
              <a:ext uri="{FF2B5EF4-FFF2-40B4-BE49-F238E27FC236}">
                <a16:creationId xmlns:a16="http://schemas.microsoft.com/office/drawing/2014/main" id="{55F841D2-6B04-1B84-9C95-ABEB839144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023" y="564206"/>
            <a:ext cx="4402667" cy="2971800"/>
          </a:xfrm>
          <a:prstGeom prst="rect">
            <a:avLst/>
          </a:prstGeom>
        </p:spPr>
      </p:pic>
      <p:pic>
        <p:nvPicPr>
          <p:cNvPr id="12" name="Picture 11" descr="A picture containing indoor&#10;&#10;Description automatically generated">
            <a:extLst>
              <a:ext uri="{FF2B5EF4-FFF2-40B4-BE49-F238E27FC236}">
                <a16:creationId xmlns:a16="http://schemas.microsoft.com/office/drawing/2014/main" id="{F442730B-DF23-D13B-782A-BC4B298DBD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7400" y="380998"/>
            <a:ext cx="4114800" cy="6096000"/>
          </a:xfrm>
          <a:prstGeom prst="rect">
            <a:avLst/>
          </a:prstGeom>
        </p:spPr>
      </p:pic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A3D1EC91-1CB4-4482-3A1D-3CCF3D3BC0E6}"/>
              </a:ext>
            </a:extLst>
          </p:cNvPr>
          <p:cNvCxnSpPr>
            <a:cxnSpLocks/>
          </p:cNvCxnSpPr>
          <p:nvPr/>
        </p:nvCxnSpPr>
        <p:spPr>
          <a:xfrm flipH="1">
            <a:off x="8915400" y="2242810"/>
            <a:ext cx="1295400" cy="118619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80C92CD-F877-194A-A1DF-970A8395CAB4}"/>
              </a:ext>
            </a:extLst>
          </p:cNvPr>
          <p:cNvCxnSpPr>
            <a:cxnSpLocks/>
          </p:cNvCxnSpPr>
          <p:nvPr/>
        </p:nvCxnSpPr>
        <p:spPr>
          <a:xfrm flipH="1" flipV="1">
            <a:off x="8991600" y="1295400"/>
            <a:ext cx="1219200" cy="94741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E298C659-C80B-201C-F651-714CFAF2B0DC}"/>
              </a:ext>
            </a:extLst>
          </p:cNvPr>
          <p:cNvCxnSpPr>
            <a:cxnSpLocks/>
          </p:cNvCxnSpPr>
          <p:nvPr/>
        </p:nvCxnSpPr>
        <p:spPr>
          <a:xfrm>
            <a:off x="5867400" y="2539357"/>
            <a:ext cx="1981200" cy="163790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FDCD03A-CE23-BEC8-16DC-1711D81F5288}"/>
              </a:ext>
            </a:extLst>
          </p:cNvPr>
          <p:cNvCxnSpPr>
            <a:cxnSpLocks/>
          </p:cNvCxnSpPr>
          <p:nvPr/>
        </p:nvCxnSpPr>
        <p:spPr>
          <a:xfrm>
            <a:off x="6435180" y="2242810"/>
            <a:ext cx="422820" cy="59309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Arrow: Up-Down 30">
            <a:extLst>
              <a:ext uri="{FF2B5EF4-FFF2-40B4-BE49-F238E27FC236}">
                <a16:creationId xmlns:a16="http://schemas.microsoft.com/office/drawing/2014/main" id="{2C84336D-1955-E656-B9B0-AE4EBE9AB005}"/>
              </a:ext>
            </a:extLst>
          </p:cNvPr>
          <p:cNvSpPr/>
          <p:nvPr/>
        </p:nvSpPr>
        <p:spPr>
          <a:xfrm rot="4993986">
            <a:off x="8487591" y="1844850"/>
            <a:ext cx="154305" cy="1982109"/>
          </a:xfrm>
          <a:prstGeom prst="upDownArrow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DF3053A-3E6A-7689-2F8F-CBB3950BBBCA}"/>
              </a:ext>
            </a:extLst>
          </p:cNvPr>
          <p:cNvSpPr/>
          <p:nvPr/>
        </p:nvSpPr>
        <p:spPr>
          <a:xfrm rot="21128665">
            <a:off x="7792608" y="2298547"/>
            <a:ext cx="1292365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8.4 m</a:t>
            </a:r>
          </a:p>
        </p:txBody>
      </p:sp>
      <p:sp>
        <p:nvSpPr>
          <p:cNvPr id="37" name="Rectangle 5">
            <a:extLst>
              <a:ext uri="{FF2B5EF4-FFF2-40B4-BE49-F238E27FC236}">
                <a16:creationId xmlns:a16="http://schemas.microsoft.com/office/drawing/2014/main" id="{95B3C492-3D10-8E8F-41C5-545E1D4139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736" y="65949"/>
            <a:ext cx="634644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rPr>
              <a:t>SRA12 – Power transformers 2/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10C9E75-33E0-2E19-FE9E-5806A0972206}"/>
              </a:ext>
            </a:extLst>
          </p:cNvPr>
          <p:cNvSpPr txBox="1"/>
          <p:nvPr/>
        </p:nvSpPr>
        <p:spPr>
          <a:xfrm>
            <a:off x="685800" y="619891"/>
            <a:ext cx="10668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front view</a:t>
            </a:r>
            <a:endParaRPr lang="en-US" sz="1400" dirty="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F6043E4-4243-A371-8475-DD1D987EDAE6}"/>
              </a:ext>
            </a:extLst>
          </p:cNvPr>
          <p:cNvSpPr txBox="1"/>
          <p:nvPr/>
        </p:nvSpPr>
        <p:spPr>
          <a:xfrm>
            <a:off x="719254" y="3869485"/>
            <a:ext cx="95997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rear view</a:t>
            </a:r>
            <a:endParaRPr lang="en-US" sz="14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D9BAD51-43A9-07E0-1597-5C356FC9CF52}"/>
              </a:ext>
            </a:extLst>
          </p:cNvPr>
          <p:cNvSpPr txBox="1"/>
          <p:nvPr/>
        </p:nvSpPr>
        <p:spPr>
          <a:xfrm>
            <a:off x="10210800" y="1981200"/>
            <a:ext cx="106680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the 110kV connection</a:t>
            </a:r>
            <a:endParaRPr lang="en-US" sz="1400" dirty="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37EC314-7934-840C-4D23-B8EE6421F3DB}"/>
              </a:ext>
            </a:extLst>
          </p:cNvPr>
          <p:cNvSpPr txBox="1"/>
          <p:nvPr/>
        </p:nvSpPr>
        <p:spPr>
          <a:xfrm>
            <a:off x="5334000" y="2017520"/>
            <a:ext cx="106680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b="0" i="0" dirty="0">
                <a:solidFill>
                  <a:srgbClr val="000000"/>
                </a:solidFill>
                <a:effectLst/>
                <a:latin typeface="Roboto" panose="02000000000000000000" pitchFamily="2" charset="0"/>
              </a:rPr>
              <a:t>the 110kV connecti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262377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6sWWkcAk.oJPeE7tVv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fh9wMhBkeV4Gr6SdsEB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6sWWkcAk.oJPeE7tVve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fh9wMhBkeV4Gr6SdsE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ISKJVoGk.rzXO9i8q5H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ISKJVoGk.rzXO9i8q5H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te5QsjfkCybBg8DmDry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HpyycFkyHMYHveU68a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9j_HbdEuduQSatjY8d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2mr2M2ku.0rraQEpCUS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2mr2M2ku.0rraQEpCUS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PresentationV8">
  <a:themeElements>
    <a:clrScheme name="PresentationV8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LIberty">
  <a:themeElements>
    <a:clrScheme name="Liberty_final">
      <a:dk1>
        <a:srgbClr val="000000"/>
      </a:dk1>
      <a:lt1>
        <a:sysClr val="window" lastClr="FFFFFF"/>
      </a:lt1>
      <a:dk2>
        <a:srgbClr val="696D6F"/>
      </a:dk2>
      <a:lt2>
        <a:srgbClr val="12326E"/>
      </a:lt2>
      <a:accent1>
        <a:srgbClr val="12326E"/>
      </a:accent1>
      <a:accent2>
        <a:srgbClr val="36BCEE"/>
      </a:accent2>
      <a:accent3>
        <a:srgbClr val="C15A2D"/>
      </a:accent3>
      <a:accent4>
        <a:srgbClr val="05934A"/>
      </a:accent4>
      <a:accent5>
        <a:srgbClr val="1C6AAF"/>
      </a:accent5>
      <a:accent6>
        <a:srgbClr val="DBAE47"/>
      </a:accent6>
      <a:hlink>
        <a:srgbClr val="A03B18"/>
      </a:hlink>
      <a:folHlink>
        <a:srgbClr val="05934A"/>
      </a:folHlink>
    </a:clrScheme>
    <a:fontScheme name="Liberty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E6E6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_Liberty.potx" id="{C04B6839-B055-45AD-9B89-AD83F3A8912D}" vid="{570CCB17-4479-4861-9683-0604048A1DD1}"/>
    </a:ext>
  </a:extLst>
</a:theme>
</file>

<file path=ppt/theme/theme4.xml><?xml version="1.0" encoding="utf-8"?>
<a:theme xmlns:a="http://schemas.openxmlformats.org/drawingml/2006/main" name="2_LIberty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LIberty">
  <a:themeElements>
    <a:clrScheme name="Liberty_final">
      <a:dk1>
        <a:srgbClr val="000000"/>
      </a:dk1>
      <a:lt1>
        <a:sysClr val="window" lastClr="FFFFFF"/>
      </a:lt1>
      <a:dk2>
        <a:srgbClr val="696D6F"/>
      </a:dk2>
      <a:lt2>
        <a:srgbClr val="12326E"/>
      </a:lt2>
      <a:accent1>
        <a:srgbClr val="12326E"/>
      </a:accent1>
      <a:accent2>
        <a:srgbClr val="36BCEE"/>
      </a:accent2>
      <a:accent3>
        <a:srgbClr val="C15A2D"/>
      </a:accent3>
      <a:accent4>
        <a:srgbClr val="05934A"/>
      </a:accent4>
      <a:accent5>
        <a:srgbClr val="1C6AAF"/>
      </a:accent5>
      <a:accent6>
        <a:srgbClr val="DBAE47"/>
      </a:accent6>
      <a:hlink>
        <a:srgbClr val="A03B18"/>
      </a:hlink>
      <a:folHlink>
        <a:srgbClr val="05934A"/>
      </a:folHlink>
    </a:clrScheme>
    <a:fontScheme name="Liberty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6E6E6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aster_Liberty.potx" id="{C04B6839-B055-45AD-9B89-AD83F3A8912D}" vid="{570CCB17-4479-4861-9683-0604048A1DD1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381</TotalTime>
  <Words>122</Words>
  <Application>Microsoft Office PowerPoint</Application>
  <PresentationFormat>Widescreen</PresentationFormat>
  <Paragraphs>4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5" baseType="lpstr">
      <vt:lpstr>Arial</vt:lpstr>
      <vt:lpstr>Calibri</vt:lpstr>
      <vt:lpstr>Calibri Light</vt:lpstr>
      <vt:lpstr>Roboto</vt:lpstr>
      <vt:lpstr>Symbol</vt:lpstr>
      <vt:lpstr>PresentationV8</vt:lpstr>
      <vt:lpstr>2_PresentationV8</vt:lpstr>
      <vt:lpstr>1_LIberty</vt:lpstr>
      <vt:lpstr>2_LIberty</vt:lpstr>
      <vt:lpstr>3_LIberty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>ArcelorMitt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PDES presentation</dc:title>
  <dc:creator>valerica.serbanescu</dc:creator>
  <cp:lastModifiedBy>Faraon, Francisc-Valentin</cp:lastModifiedBy>
  <cp:revision>147</cp:revision>
  <dcterms:created xsi:type="dcterms:W3CDTF">2015-12-04T06:52:08Z</dcterms:created>
  <dcterms:modified xsi:type="dcterms:W3CDTF">2023-02-15T18:43:59Z</dcterms:modified>
</cp:coreProperties>
</file>